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diagrams/data2.xml" ContentType="application/vnd.openxmlformats-officedocument.drawingml.diagramData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9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style2.xml" ContentType="application/vnd.ms-office.chartstyle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46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42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45.xml" ContentType="application/vnd.openxmlformats-officedocument.presentationml.tags+xml"/>
  <Override PartName="/ppt/tags/tag48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37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6.xml" ContentType="application/vnd.openxmlformats-officedocument.presentationml.tags+xml"/>
  <Override PartName="/ppt/tags/tag47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256" r:id="rId3"/>
    <p:sldId id="257" r:id="rId4"/>
    <p:sldId id="258" r:id="rId5"/>
    <p:sldId id="259" r:id="rId6"/>
    <p:sldId id="260" r:id="rId7"/>
    <p:sldId id="317" r:id="rId8"/>
    <p:sldId id="1885" r:id="rId9"/>
    <p:sldId id="1888" r:id="rId10"/>
    <p:sldId id="1953" r:id="rId11"/>
    <p:sldId id="1906" r:id="rId12"/>
    <p:sldId id="1597" r:id="rId13"/>
    <p:sldId id="282" r:id="rId14"/>
    <p:sldId id="1506" r:id="rId15"/>
    <p:sldId id="1950" r:id="rId16"/>
    <p:sldId id="1963" r:id="rId17"/>
    <p:sldId id="1948" r:id="rId18"/>
    <p:sldId id="1946" r:id="rId19"/>
    <p:sldId id="1967" r:id="rId20"/>
    <p:sldId id="1969" r:id="rId21"/>
    <p:sldId id="335" r:id="rId22"/>
    <p:sldId id="1972" r:id="rId23"/>
    <p:sldId id="1960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0" dirty="0">
                <a:solidFill>
                  <a:schemeClr val="tx1"/>
                </a:solidFill>
              </a:rPr>
              <a:t>AppStore Technology</a:t>
            </a:r>
            <a:r>
              <a:rPr lang="en-US" b="0" baseline="0" dirty="0">
                <a:solidFill>
                  <a:schemeClr val="tx1"/>
                </a:solidFill>
              </a:rPr>
              <a:t> PADU</a:t>
            </a:r>
            <a:endParaRPr lang="en-US" b="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HG Technology Landscape</c:v>
                </c:pt>
              </c:strCache>
            </c:strRef>
          </c:tx>
          <c:dPt>
            <c:idx val="0"/>
            <c:bubble3D val="0"/>
            <c:spPr>
              <a:solidFill>
                <a:srgbClr val="388CD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5D0-704A-BA09-6D982C770510}"/>
              </c:ext>
            </c:extLst>
          </c:dPt>
          <c:dPt>
            <c:idx val="1"/>
            <c:bubble3D val="0"/>
            <c:spPr>
              <a:solidFill>
                <a:srgbClr val="76CA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5D0-704A-BA09-6D982C770510}"/>
              </c:ext>
            </c:extLst>
          </c:dPt>
          <c:dPt>
            <c:idx val="2"/>
            <c:bubble3D val="0"/>
            <c:spPr>
              <a:solidFill>
                <a:srgbClr val="EDB76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5D0-704A-BA09-6D982C770510}"/>
              </c:ext>
            </c:extLst>
          </c:dPt>
          <c:dPt>
            <c:idx val="3"/>
            <c:bubble3D val="0"/>
            <c:spPr>
              <a:solidFill>
                <a:srgbClr val="EA584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5D0-704A-BA09-6D982C770510}"/>
              </c:ext>
            </c:extLst>
          </c:dPt>
          <c:dPt>
            <c:idx val="4"/>
            <c:bubble3D val="0"/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5D0-704A-BA09-6D982C770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referred</c:v>
                </c:pt>
                <c:pt idx="1">
                  <c:v>Acceptable</c:v>
                </c:pt>
                <c:pt idx="2">
                  <c:v>Discouraged</c:v>
                </c:pt>
                <c:pt idx="3">
                  <c:v>Unacceptable</c:v>
                </c:pt>
                <c:pt idx="4">
                  <c:v>Unrat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2</c:v>
                </c:pt>
                <c:pt idx="1">
                  <c:v>1402</c:v>
                </c:pt>
                <c:pt idx="2">
                  <c:v>1243</c:v>
                </c:pt>
                <c:pt idx="3">
                  <c:v>537</c:v>
                </c:pt>
                <c:pt idx="4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5D0-704A-BA09-6D982C7705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S&amp;P Category Spe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 Spen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6BC-4A4E-A812-6B1E4196E25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6BC-4A4E-A812-6B1E4196E25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6BC-4A4E-A812-6B1E4196E25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6BC-4A4E-A812-6B1E4196E25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6BC-4A4E-A812-6B1E4196E25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6BC-4A4E-A812-6B1E4196E25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6BC-4A4E-A812-6B1E4196E25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6BC-4A4E-A812-6B1E4196E25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46BC-4A4E-A812-6B1E4196E258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46BC-4A4E-A812-6B1E4196E25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1</c:f>
              <c:strCache>
                <c:ptCount val="10"/>
                <c:pt idx="0">
                  <c:v>Business Applications</c:v>
                </c:pt>
                <c:pt idx="1">
                  <c:v>Data Management and Analytics Enablement</c:v>
                </c:pt>
                <c:pt idx="2">
                  <c:v>Operations Management</c:v>
                </c:pt>
                <c:pt idx="3">
                  <c:v>Developer Tools</c:v>
                </c:pt>
                <c:pt idx="4">
                  <c:v>Compute</c:v>
                </c:pt>
                <c:pt idx="5">
                  <c:v>End User Software</c:v>
                </c:pt>
                <c:pt idx="6">
                  <c:v>Content Management</c:v>
                </c:pt>
                <c:pt idx="7">
                  <c:v>IT Management</c:v>
                </c:pt>
                <c:pt idx="8">
                  <c:v>Security, Identity &amp; Compliance</c:v>
                </c:pt>
                <c:pt idx="9">
                  <c:v>Networking</c:v>
                </c:pt>
              </c:strCache>
            </c:strRef>
          </c:cat>
          <c:val>
            <c:numRef>
              <c:f>Sheet1!$B$2:$B$11</c:f>
              <c:numCache>
                <c:formatCode>"$"#,##0_);[Red]\("$"#,##0\)</c:formatCode>
                <c:ptCount val="10"/>
                <c:pt idx="0">
                  <c:v>192702498</c:v>
                </c:pt>
                <c:pt idx="1">
                  <c:v>82709089</c:v>
                </c:pt>
                <c:pt idx="2">
                  <c:v>71314719</c:v>
                </c:pt>
                <c:pt idx="3">
                  <c:v>64902399</c:v>
                </c:pt>
                <c:pt idx="4">
                  <c:v>42938067</c:v>
                </c:pt>
                <c:pt idx="5">
                  <c:v>30753178</c:v>
                </c:pt>
                <c:pt idx="6">
                  <c:v>22520920</c:v>
                </c:pt>
                <c:pt idx="7">
                  <c:v>20066367</c:v>
                </c:pt>
                <c:pt idx="8">
                  <c:v>12070939</c:v>
                </c:pt>
                <c:pt idx="9">
                  <c:v>11388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A5-2E43-AE46-ACBE330755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'My App'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strRef>
              <c:f>'My App'!$A$2:$A$5</c:f>
              <c:strCache>
                <c:ptCount val="4"/>
                <c:pt idx="0">
                  <c:v>Business PADU</c:v>
                </c:pt>
                <c:pt idx="1">
                  <c:v>Technology PADU</c:v>
                </c:pt>
                <c:pt idx="2">
                  <c:v>Engineering Standards</c:v>
                </c:pt>
                <c:pt idx="3">
                  <c:v>Hardware PADU</c:v>
                </c:pt>
              </c:strCache>
            </c:strRef>
          </c:cat>
          <c:val>
            <c:numRef>
              <c:f>'My App'!$B$2:$B$5</c:f>
              <c:numCache>
                <c:formatCode>General</c:formatCode>
                <c:ptCount val="4"/>
                <c:pt idx="0">
                  <c:v>75</c:v>
                </c:pt>
                <c:pt idx="1">
                  <c:v>60</c:v>
                </c:pt>
                <c:pt idx="2">
                  <c:v>50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67-B749-B422-0FE53A252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3460752"/>
        <c:axId val="413501904"/>
      </c:radarChart>
      <c:catAx>
        <c:axId val="41346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E8772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501904"/>
        <c:crosses val="autoZero"/>
        <c:auto val="1"/>
        <c:lblAlgn val="ctr"/>
        <c:lblOffset val="100"/>
        <c:noMultiLvlLbl val="0"/>
      </c:catAx>
      <c:valAx>
        <c:axId val="413501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460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4" Type="http://schemas.openxmlformats.org/officeDocument/2006/relationships/image" Target="../media/image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4" Type="http://schemas.openxmlformats.org/officeDocument/2006/relationships/image" Target="../media/image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32686D-9085-4018-859D-C0C6FEA45B12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B51E1F30-AF0E-4F1A-AFBC-8C4CC47514FD}">
      <dgm:prSet/>
      <dgm:spPr/>
      <dgm:t>
        <a:bodyPr/>
        <a:lstStyle/>
        <a:p>
          <a:pPr>
            <a:defRPr cap="all"/>
          </a:pPr>
          <a:r>
            <a:rPr lang="en-US"/>
            <a:t>Architecture Building Blocks</a:t>
          </a:r>
        </a:p>
      </dgm:t>
    </dgm:pt>
    <dgm:pt modelId="{83C63F37-B107-4D4A-88AB-B9B91012F949}" type="parTrans" cxnId="{54423CF8-44D9-494A-8318-A175AAA14D94}">
      <dgm:prSet/>
      <dgm:spPr/>
      <dgm:t>
        <a:bodyPr/>
        <a:lstStyle/>
        <a:p>
          <a:endParaRPr lang="en-US"/>
        </a:p>
      </dgm:t>
    </dgm:pt>
    <dgm:pt modelId="{BE2E98D9-0BBA-4007-B4EB-9D1E1927E4CA}" type="sibTrans" cxnId="{54423CF8-44D9-494A-8318-A175AAA14D94}">
      <dgm:prSet/>
      <dgm:spPr/>
      <dgm:t>
        <a:bodyPr/>
        <a:lstStyle/>
        <a:p>
          <a:endParaRPr lang="en-US"/>
        </a:p>
      </dgm:t>
    </dgm:pt>
    <dgm:pt modelId="{6F9AD21D-0CE6-42E0-A861-A41F65CB4717}">
      <dgm:prSet/>
      <dgm:spPr/>
      <dgm:t>
        <a:bodyPr/>
        <a:lstStyle/>
        <a:p>
          <a:pPr>
            <a:defRPr cap="all"/>
          </a:pPr>
          <a:r>
            <a:rPr lang="en-US"/>
            <a:t>Solution Building Blocks</a:t>
          </a:r>
        </a:p>
      </dgm:t>
    </dgm:pt>
    <dgm:pt modelId="{6118BB87-4D72-4B8C-A6B2-AE9C098AC15F}" type="parTrans" cxnId="{612AC7BB-0548-455E-B38C-39BAF81B42ED}">
      <dgm:prSet/>
      <dgm:spPr/>
      <dgm:t>
        <a:bodyPr/>
        <a:lstStyle/>
        <a:p>
          <a:endParaRPr lang="en-US"/>
        </a:p>
      </dgm:t>
    </dgm:pt>
    <dgm:pt modelId="{EF296371-5FEF-4BDE-B7FC-FFCA96A47144}" type="sibTrans" cxnId="{612AC7BB-0548-455E-B38C-39BAF81B42ED}">
      <dgm:prSet/>
      <dgm:spPr/>
      <dgm:t>
        <a:bodyPr/>
        <a:lstStyle/>
        <a:p>
          <a:endParaRPr lang="en-US"/>
        </a:p>
      </dgm:t>
    </dgm:pt>
    <dgm:pt modelId="{ACDFEF92-941A-4E41-9FE4-F49CA4F2B64D}" type="pres">
      <dgm:prSet presAssocID="{DA32686D-9085-4018-859D-C0C6FEA45B12}" presName="root" presStyleCnt="0">
        <dgm:presLayoutVars>
          <dgm:dir/>
          <dgm:resizeHandles val="exact"/>
        </dgm:presLayoutVars>
      </dgm:prSet>
      <dgm:spPr/>
    </dgm:pt>
    <dgm:pt modelId="{681DC1BD-14E3-411A-ABF1-021EBE72FD02}" type="pres">
      <dgm:prSet presAssocID="{B51E1F30-AF0E-4F1A-AFBC-8C4CC47514FD}" presName="compNode" presStyleCnt="0"/>
      <dgm:spPr/>
    </dgm:pt>
    <dgm:pt modelId="{D10A2CAD-0DA0-4CF4-BF4F-2B7AC9C75562}" type="pres">
      <dgm:prSet presAssocID="{B51E1F30-AF0E-4F1A-AFBC-8C4CC47514FD}" presName="iconBgRect" presStyleLbl="bgShp" presStyleIdx="0" presStyleCnt="2"/>
      <dgm:spPr/>
    </dgm:pt>
    <dgm:pt modelId="{F2F905E1-AAA6-4FEC-98AF-B267FA22A042}" type="pres">
      <dgm:prSet presAssocID="{B51E1F30-AF0E-4F1A-AFBC-8C4CC47514F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2C631383-BB14-495E-A0E9-EEB885FD637C}" type="pres">
      <dgm:prSet presAssocID="{B51E1F30-AF0E-4F1A-AFBC-8C4CC47514FD}" presName="spaceRect" presStyleCnt="0"/>
      <dgm:spPr/>
    </dgm:pt>
    <dgm:pt modelId="{CE723F23-7F2E-4EC0-A90C-54AB26FC08E6}" type="pres">
      <dgm:prSet presAssocID="{B51E1F30-AF0E-4F1A-AFBC-8C4CC47514FD}" presName="textRect" presStyleLbl="revTx" presStyleIdx="0" presStyleCnt="2">
        <dgm:presLayoutVars>
          <dgm:chMax val="1"/>
          <dgm:chPref val="1"/>
        </dgm:presLayoutVars>
      </dgm:prSet>
      <dgm:spPr/>
    </dgm:pt>
    <dgm:pt modelId="{2221511D-2E44-4D7E-B32B-97CA9AB69244}" type="pres">
      <dgm:prSet presAssocID="{BE2E98D9-0BBA-4007-B4EB-9D1E1927E4CA}" presName="sibTrans" presStyleCnt="0"/>
      <dgm:spPr/>
    </dgm:pt>
    <dgm:pt modelId="{2067F9A3-6656-4AD8-AF0E-E09B8FDC33F1}" type="pres">
      <dgm:prSet presAssocID="{6F9AD21D-0CE6-42E0-A861-A41F65CB4717}" presName="compNode" presStyleCnt="0"/>
      <dgm:spPr/>
    </dgm:pt>
    <dgm:pt modelId="{94E8DA96-F440-428A-A7E5-BEB8FFC7E92E}" type="pres">
      <dgm:prSet presAssocID="{6F9AD21D-0CE6-42E0-A861-A41F65CB4717}" presName="iconBgRect" presStyleLbl="bgShp" presStyleIdx="1" presStyleCnt="2"/>
      <dgm:spPr/>
    </dgm:pt>
    <dgm:pt modelId="{F477B6EB-28B2-4704-B9E3-9B422E73DE02}" type="pres">
      <dgm:prSet presAssocID="{6F9AD21D-0CE6-42E0-A861-A41F65CB4717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twork"/>
        </a:ext>
      </dgm:extLst>
    </dgm:pt>
    <dgm:pt modelId="{15E39C05-F2E7-44F9-B2BE-C9BCC9A97751}" type="pres">
      <dgm:prSet presAssocID="{6F9AD21D-0CE6-42E0-A861-A41F65CB4717}" presName="spaceRect" presStyleCnt="0"/>
      <dgm:spPr/>
    </dgm:pt>
    <dgm:pt modelId="{66E06EC4-8E8B-450C-BFB0-5C887A3794F1}" type="pres">
      <dgm:prSet presAssocID="{6F9AD21D-0CE6-42E0-A861-A41F65CB4717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867B650D-E0FD-4224-8DEE-17A122B6D1EE}" type="presOf" srcId="{6F9AD21D-0CE6-42E0-A861-A41F65CB4717}" destId="{66E06EC4-8E8B-450C-BFB0-5C887A3794F1}" srcOrd="0" destOrd="0" presId="urn:microsoft.com/office/officeart/2018/5/layout/IconCircleLabelList"/>
    <dgm:cxn modelId="{8E5DB461-AD28-4A18-AD38-373F55D51A1C}" type="presOf" srcId="{DA32686D-9085-4018-859D-C0C6FEA45B12}" destId="{ACDFEF92-941A-4E41-9FE4-F49CA4F2B64D}" srcOrd="0" destOrd="0" presId="urn:microsoft.com/office/officeart/2018/5/layout/IconCircleLabelList"/>
    <dgm:cxn modelId="{20A32E86-D078-4E36-A422-E6CC732D7893}" type="presOf" srcId="{B51E1F30-AF0E-4F1A-AFBC-8C4CC47514FD}" destId="{CE723F23-7F2E-4EC0-A90C-54AB26FC08E6}" srcOrd="0" destOrd="0" presId="urn:microsoft.com/office/officeart/2018/5/layout/IconCircleLabelList"/>
    <dgm:cxn modelId="{612AC7BB-0548-455E-B38C-39BAF81B42ED}" srcId="{DA32686D-9085-4018-859D-C0C6FEA45B12}" destId="{6F9AD21D-0CE6-42E0-A861-A41F65CB4717}" srcOrd="1" destOrd="0" parTransId="{6118BB87-4D72-4B8C-A6B2-AE9C098AC15F}" sibTransId="{EF296371-5FEF-4BDE-B7FC-FFCA96A47144}"/>
    <dgm:cxn modelId="{54423CF8-44D9-494A-8318-A175AAA14D94}" srcId="{DA32686D-9085-4018-859D-C0C6FEA45B12}" destId="{B51E1F30-AF0E-4F1A-AFBC-8C4CC47514FD}" srcOrd="0" destOrd="0" parTransId="{83C63F37-B107-4D4A-88AB-B9B91012F949}" sibTransId="{BE2E98D9-0BBA-4007-B4EB-9D1E1927E4CA}"/>
    <dgm:cxn modelId="{6113EACA-D1AE-49C6-9FDA-26AFA04150E0}" type="presParOf" srcId="{ACDFEF92-941A-4E41-9FE4-F49CA4F2B64D}" destId="{681DC1BD-14E3-411A-ABF1-021EBE72FD02}" srcOrd="0" destOrd="0" presId="urn:microsoft.com/office/officeart/2018/5/layout/IconCircleLabelList"/>
    <dgm:cxn modelId="{81A4AC9D-41CA-420F-A400-43D114D53869}" type="presParOf" srcId="{681DC1BD-14E3-411A-ABF1-021EBE72FD02}" destId="{D10A2CAD-0DA0-4CF4-BF4F-2B7AC9C75562}" srcOrd="0" destOrd="0" presId="urn:microsoft.com/office/officeart/2018/5/layout/IconCircleLabelList"/>
    <dgm:cxn modelId="{39C6B453-C8D0-4D6E-8A14-68588E5ADC6A}" type="presParOf" srcId="{681DC1BD-14E3-411A-ABF1-021EBE72FD02}" destId="{F2F905E1-AAA6-4FEC-98AF-B267FA22A042}" srcOrd="1" destOrd="0" presId="urn:microsoft.com/office/officeart/2018/5/layout/IconCircleLabelList"/>
    <dgm:cxn modelId="{F42177FB-DFF7-4D3B-B65F-C4AB35939058}" type="presParOf" srcId="{681DC1BD-14E3-411A-ABF1-021EBE72FD02}" destId="{2C631383-BB14-495E-A0E9-EEB885FD637C}" srcOrd="2" destOrd="0" presId="urn:microsoft.com/office/officeart/2018/5/layout/IconCircleLabelList"/>
    <dgm:cxn modelId="{764D013A-E36B-408A-B5F5-3951E40B161D}" type="presParOf" srcId="{681DC1BD-14E3-411A-ABF1-021EBE72FD02}" destId="{CE723F23-7F2E-4EC0-A90C-54AB26FC08E6}" srcOrd="3" destOrd="0" presId="urn:microsoft.com/office/officeart/2018/5/layout/IconCircleLabelList"/>
    <dgm:cxn modelId="{BD98BC00-4DBA-4D81-839A-38DCEDCADDA5}" type="presParOf" srcId="{ACDFEF92-941A-4E41-9FE4-F49CA4F2B64D}" destId="{2221511D-2E44-4D7E-B32B-97CA9AB69244}" srcOrd="1" destOrd="0" presId="urn:microsoft.com/office/officeart/2018/5/layout/IconCircleLabelList"/>
    <dgm:cxn modelId="{42673F58-38C6-46D5-958B-535F621469E3}" type="presParOf" srcId="{ACDFEF92-941A-4E41-9FE4-F49CA4F2B64D}" destId="{2067F9A3-6656-4AD8-AF0E-E09B8FDC33F1}" srcOrd="2" destOrd="0" presId="urn:microsoft.com/office/officeart/2018/5/layout/IconCircleLabelList"/>
    <dgm:cxn modelId="{32EF7572-FFFE-4DA7-AAB4-C6C34ABAEFA6}" type="presParOf" srcId="{2067F9A3-6656-4AD8-AF0E-E09B8FDC33F1}" destId="{94E8DA96-F440-428A-A7E5-BEB8FFC7E92E}" srcOrd="0" destOrd="0" presId="urn:microsoft.com/office/officeart/2018/5/layout/IconCircleLabelList"/>
    <dgm:cxn modelId="{206FD253-1C54-4518-80F3-BFFEBAF03DD8}" type="presParOf" srcId="{2067F9A3-6656-4AD8-AF0E-E09B8FDC33F1}" destId="{F477B6EB-28B2-4704-B9E3-9B422E73DE02}" srcOrd="1" destOrd="0" presId="urn:microsoft.com/office/officeart/2018/5/layout/IconCircleLabelList"/>
    <dgm:cxn modelId="{738F23B2-1935-4118-8DF4-2C3F4B701213}" type="presParOf" srcId="{2067F9A3-6656-4AD8-AF0E-E09B8FDC33F1}" destId="{15E39C05-F2E7-44F9-B2BE-C9BCC9A97751}" srcOrd="2" destOrd="0" presId="urn:microsoft.com/office/officeart/2018/5/layout/IconCircleLabelList"/>
    <dgm:cxn modelId="{B159D93A-2887-43B9-B87F-74D81C878256}" type="presParOf" srcId="{2067F9A3-6656-4AD8-AF0E-E09B8FDC33F1}" destId="{66E06EC4-8E8B-450C-BFB0-5C887A3794F1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0B2538-1EC8-4759-A042-7902BF4A39B8}" type="doc">
      <dgm:prSet loTypeId="urn:microsoft.com/office/officeart/2005/8/layout/matrix3" loCatId="matrix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F51054D7-80E8-4440-8764-90CC38DA1675}">
      <dgm:prSet/>
      <dgm:spPr/>
      <dgm:t>
        <a:bodyPr/>
        <a:lstStyle/>
        <a:p>
          <a:r>
            <a:rPr lang="en-US"/>
            <a:t>B: Business</a:t>
          </a:r>
        </a:p>
      </dgm:t>
    </dgm:pt>
    <dgm:pt modelId="{75E94583-655E-4BF0-87BE-D9EE8B6FE799}" type="parTrans" cxnId="{6C2F9522-57FD-41A1-A116-14DE91891CD7}">
      <dgm:prSet/>
      <dgm:spPr/>
      <dgm:t>
        <a:bodyPr/>
        <a:lstStyle/>
        <a:p>
          <a:endParaRPr lang="en-US"/>
        </a:p>
      </dgm:t>
    </dgm:pt>
    <dgm:pt modelId="{CDCC324C-1B24-455A-9DF4-7DDB0C4E78E9}" type="sibTrans" cxnId="{6C2F9522-57FD-41A1-A116-14DE91891CD7}">
      <dgm:prSet/>
      <dgm:spPr/>
      <dgm:t>
        <a:bodyPr/>
        <a:lstStyle/>
        <a:p>
          <a:endParaRPr lang="en-US"/>
        </a:p>
      </dgm:t>
    </dgm:pt>
    <dgm:pt modelId="{284913B8-86D7-4C36-9F27-97D0EA8023B2}">
      <dgm:prSet/>
      <dgm:spPr/>
      <dgm:t>
        <a:bodyPr/>
        <a:lstStyle/>
        <a:p>
          <a:r>
            <a:rPr lang="en-US"/>
            <a:t>D: Data</a:t>
          </a:r>
        </a:p>
      </dgm:t>
    </dgm:pt>
    <dgm:pt modelId="{11D3DEB0-C81B-4211-B63E-AC905558BFEC}" type="parTrans" cxnId="{15962C4E-C9B7-480C-A71E-C5B555B26145}">
      <dgm:prSet/>
      <dgm:spPr/>
      <dgm:t>
        <a:bodyPr/>
        <a:lstStyle/>
        <a:p>
          <a:endParaRPr lang="en-US"/>
        </a:p>
      </dgm:t>
    </dgm:pt>
    <dgm:pt modelId="{DBBCA1AB-CC57-44C7-B044-2AD549C3FB8A}" type="sibTrans" cxnId="{15962C4E-C9B7-480C-A71E-C5B555B26145}">
      <dgm:prSet/>
      <dgm:spPr/>
      <dgm:t>
        <a:bodyPr/>
        <a:lstStyle/>
        <a:p>
          <a:endParaRPr lang="en-US"/>
        </a:p>
      </dgm:t>
    </dgm:pt>
    <dgm:pt modelId="{62A02F76-5FD1-46B1-B76F-0220CA59EC8F}">
      <dgm:prSet/>
      <dgm:spPr/>
      <dgm:t>
        <a:bodyPr/>
        <a:lstStyle/>
        <a:p>
          <a:r>
            <a:rPr lang="en-US"/>
            <a:t>A: Application</a:t>
          </a:r>
        </a:p>
      </dgm:t>
    </dgm:pt>
    <dgm:pt modelId="{239F333D-F8E0-4F24-B2FA-C699B142BF0F}" type="parTrans" cxnId="{5CC1D894-8F2B-4824-B484-F3677ED81B79}">
      <dgm:prSet/>
      <dgm:spPr/>
      <dgm:t>
        <a:bodyPr/>
        <a:lstStyle/>
        <a:p>
          <a:endParaRPr lang="en-US"/>
        </a:p>
      </dgm:t>
    </dgm:pt>
    <dgm:pt modelId="{6EEA8D53-0B51-4596-BA5E-DCC8F497058F}" type="sibTrans" cxnId="{5CC1D894-8F2B-4824-B484-F3677ED81B79}">
      <dgm:prSet/>
      <dgm:spPr/>
      <dgm:t>
        <a:bodyPr/>
        <a:lstStyle/>
        <a:p>
          <a:endParaRPr lang="en-US"/>
        </a:p>
      </dgm:t>
    </dgm:pt>
    <dgm:pt modelId="{06F0E180-D8CA-413D-860D-68FD44E83157}">
      <dgm:prSet/>
      <dgm:spPr/>
      <dgm:t>
        <a:bodyPr/>
        <a:lstStyle/>
        <a:p>
          <a:r>
            <a:rPr lang="en-US"/>
            <a:t>T: Technology</a:t>
          </a:r>
        </a:p>
      </dgm:t>
    </dgm:pt>
    <dgm:pt modelId="{24672EDE-3F46-4263-ABA6-5F713005DB3C}" type="parTrans" cxnId="{59E2B5E2-3070-4519-91BE-870FC52FCFED}">
      <dgm:prSet/>
      <dgm:spPr/>
      <dgm:t>
        <a:bodyPr/>
        <a:lstStyle/>
        <a:p>
          <a:endParaRPr lang="en-US"/>
        </a:p>
      </dgm:t>
    </dgm:pt>
    <dgm:pt modelId="{45623F05-3F63-4EA5-8112-5E4FDACCA61F}" type="sibTrans" cxnId="{59E2B5E2-3070-4519-91BE-870FC52FCFED}">
      <dgm:prSet/>
      <dgm:spPr/>
      <dgm:t>
        <a:bodyPr/>
        <a:lstStyle/>
        <a:p>
          <a:endParaRPr lang="en-US"/>
        </a:p>
      </dgm:t>
    </dgm:pt>
    <dgm:pt modelId="{3115BA9F-758F-49FF-B554-024665264143}" type="pres">
      <dgm:prSet presAssocID="{850B2538-1EC8-4759-A042-7902BF4A39B8}" presName="matrix" presStyleCnt="0">
        <dgm:presLayoutVars>
          <dgm:chMax val="1"/>
          <dgm:dir/>
          <dgm:resizeHandles val="exact"/>
        </dgm:presLayoutVars>
      </dgm:prSet>
      <dgm:spPr/>
    </dgm:pt>
    <dgm:pt modelId="{8341FAC6-C108-492A-9B9E-74BE278BC526}" type="pres">
      <dgm:prSet presAssocID="{850B2538-1EC8-4759-A042-7902BF4A39B8}" presName="diamond" presStyleLbl="bgShp" presStyleIdx="0" presStyleCnt="1"/>
      <dgm:spPr/>
    </dgm:pt>
    <dgm:pt modelId="{59CED899-5906-4A78-8126-514225EC66D6}" type="pres">
      <dgm:prSet presAssocID="{850B2538-1EC8-4759-A042-7902BF4A39B8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A19C9D7-9C4F-4D9D-B239-542071AA57A3}" type="pres">
      <dgm:prSet presAssocID="{850B2538-1EC8-4759-A042-7902BF4A39B8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13A0769-F8E0-4094-9CF2-392900C292FF}" type="pres">
      <dgm:prSet presAssocID="{850B2538-1EC8-4759-A042-7902BF4A39B8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F82B052-9F4F-49F4-886A-1A516B922073}" type="pres">
      <dgm:prSet presAssocID="{850B2538-1EC8-4759-A042-7902BF4A39B8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0807231A-6725-4DEC-A91B-B6E9DA3A6017}" type="presOf" srcId="{06F0E180-D8CA-413D-860D-68FD44E83157}" destId="{4F82B052-9F4F-49F4-886A-1A516B922073}" srcOrd="0" destOrd="0" presId="urn:microsoft.com/office/officeart/2005/8/layout/matrix3"/>
    <dgm:cxn modelId="{6C2F9522-57FD-41A1-A116-14DE91891CD7}" srcId="{850B2538-1EC8-4759-A042-7902BF4A39B8}" destId="{F51054D7-80E8-4440-8764-90CC38DA1675}" srcOrd="0" destOrd="0" parTransId="{75E94583-655E-4BF0-87BE-D9EE8B6FE799}" sibTransId="{CDCC324C-1B24-455A-9DF4-7DDB0C4E78E9}"/>
    <dgm:cxn modelId="{15962C4E-C9B7-480C-A71E-C5B555B26145}" srcId="{850B2538-1EC8-4759-A042-7902BF4A39B8}" destId="{284913B8-86D7-4C36-9F27-97D0EA8023B2}" srcOrd="1" destOrd="0" parTransId="{11D3DEB0-C81B-4211-B63E-AC905558BFEC}" sibTransId="{DBBCA1AB-CC57-44C7-B044-2AD549C3FB8A}"/>
    <dgm:cxn modelId="{06162A8D-09EA-401F-BFD1-C10429D4743A}" type="presOf" srcId="{850B2538-1EC8-4759-A042-7902BF4A39B8}" destId="{3115BA9F-758F-49FF-B554-024665264143}" srcOrd="0" destOrd="0" presId="urn:microsoft.com/office/officeart/2005/8/layout/matrix3"/>
    <dgm:cxn modelId="{5CC1D894-8F2B-4824-B484-F3677ED81B79}" srcId="{850B2538-1EC8-4759-A042-7902BF4A39B8}" destId="{62A02F76-5FD1-46B1-B76F-0220CA59EC8F}" srcOrd="2" destOrd="0" parTransId="{239F333D-F8E0-4F24-B2FA-C699B142BF0F}" sibTransId="{6EEA8D53-0B51-4596-BA5E-DCC8F497058F}"/>
    <dgm:cxn modelId="{7A196F99-F9EA-4487-BB15-3FB6BEE6861F}" type="presOf" srcId="{284913B8-86D7-4C36-9F27-97D0EA8023B2}" destId="{7A19C9D7-9C4F-4D9D-B239-542071AA57A3}" srcOrd="0" destOrd="0" presId="urn:microsoft.com/office/officeart/2005/8/layout/matrix3"/>
    <dgm:cxn modelId="{59E2B5E2-3070-4519-91BE-870FC52FCFED}" srcId="{850B2538-1EC8-4759-A042-7902BF4A39B8}" destId="{06F0E180-D8CA-413D-860D-68FD44E83157}" srcOrd="3" destOrd="0" parTransId="{24672EDE-3F46-4263-ABA6-5F713005DB3C}" sibTransId="{45623F05-3F63-4EA5-8112-5E4FDACCA61F}"/>
    <dgm:cxn modelId="{4729CBE7-ED94-47A2-A433-848508FF3FE8}" type="presOf" srcId="{F51054D7-80E8-4440-8764-90CC38DA1675}" destId="{59CED899-5906-4A78-8126-514225EC66D6}" srcOrd="0" destOrd="0" presId="urn:microsoft.com/office/officeart/2005/8/layout/matrix3"/>
    <dgm:cxn modelId="{5265E6F0-BA6F-4C16-A276-B24C66515E1B}" type="presOf" srcId="{62A02F76-5FD1-46B1-B76F-0220CA59EC8F}" destId="{813A0769-F8E0-4094-9CF2-392900C292FF}" srcOrd="0" destOrd="0" presId="urn:microsoft.com/office/officeart/2005/8/layout/matrix3"/>
    <dgm:cxn modelId="{6EE61BB7-5FF9-4E3F-840D-8F98FD1046B8}" type="presParOf" srcId="{3115BA9F-758F-49FF-B554-024665264143}" destId="{8341FAC6-C108-492A-9B9E-74BE278BC526}" srcOrd="0" destOrd="0" presId="urn:microsoft.com/office/officeart/2005/8/layout/matrix3"/>
    <dgm:cxn modelId="{01B5162C-C263-400F-B86F-56EE1F8617FC}" type="presParOf" srcId="{3115BA9F-758F-49FF-B554-024665264143}" destId="{59CED899-5906-4A78-8126-514225EC66D6}" srcOrd="1" destOrd="0" presId="urn:microsoft.com/office/officeart/2005/8/layout/matrix3"/>
    <dgm:cxn modelId="{F5FD7A8C-4C82-4D59-A27A-A810725E11BC}" type="presParOf" srcId="{3115BA9F-758F-49FF-B554-024665264143}" destId="{7A19C9D7-9C4F-4D9D-B239-542071AA57A3}" srcOrd="2" destOrd="0" presId="urn:microsoft.com/office/officeart/2005/8/layout/matrix3"/>
    <dgm:cxn modelId="{01AEDD80-E78B-4168-8648-87FBE08E50E0}" type="presParOf" srcId="{3115BA9F-758F-49FF-B554-024665264143}" destId="{813A0769-F8E0-4094-9CF2-392900C292FF}" srcOrd="3" destOrd="0" presId="urn:microsoft.com/office/officeart/2005/8/layout/matrix3"/>
    <dgm:cxn modelId="{2B7B82E0-B690-4E48-8037-94E44A59D681}" type="presParOf" srcId="{3115BA9F-758F-49FF-B554-024665264143}" destId="{4F82B052-9F4F-49F4-886A-1A516B922073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0A2CAD-0DA0-4CF4-BF4F-2B7AC9C75562}">
      <dsp:nvSpPr>
        <dsp:cNvPr id="0" name=""/>
        <dsp:cNvSpPr/>
      </dsp:nvSpPr>
      <dsp:spPr>
        <a:xfrm>
          <a:off x="2044800" y="375668"/>
          <a:ext cx="2196000" cy="219600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F905E1-AAA6-4FEC-98AF-B267FA22A042}">
      <dsp:nvSpPr>
        <dsp:cNvPr id="0" name=""/>
        <dsp:cNvSpPr/>
      </dsp:nvSpPr>
      <dsp:spPr>
        <a:xfrm>
          <a:off x="2512800" y="843669"/>
          <a:ext cx="1260000" cy="126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723F23-7F2E-4EC0-A90C-54AB26FC08E6}">
      <dsp:nvSpPr>
        <dsp:cNvPr id="0" name=""/>
        <dsp:cNvSpPr/>
      </dsp:nvSpPr>
      <dsp:spPr>
        <a:xfrm>
          <a:off x="1342800" y="3255669"/>
          <a:ext cx="36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Architecture Building Blocks</a:t>
          </a:r>
        </a:p>
      </dsp:txBody>
      <dsp:txXfrm>
        <a:off x="1342800" y="3255669"/>
        <a:ext cx="3600000" cy="720000"/>
      </dsp:txXfrm>
    </dsp:sp>
    <dsp:sp modelId="{94E8DA96-F440-428A-A7E5-BEB8FFC7E92E}">
      <dsp:nvSpPr>
        <dsp:cNvPr id="0" name=""/>
        <dsp:cNvSpPr/>
      </dsp:nvSpPr>
      <dsp:spPr>
        <a:xfrm>
          <a:off x="6274800" y="375668"/>
          <a:ext cx="2196000" cy="219600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77B6EB-28B2-4704-B9E3-9B422E73DE02}">
      <dsp:nvSpPr>
        <dsp:cNvPr id="0" name=""/>
        <dsp:cNvSpPr/>
      </dsp:nvSpPr>
      <dsp:spPr>
        <a:xfrm>
          <a:off x="6742800" y="843669"/>
          <a:ext cx="1260000" cy="126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E06EC4-8E8B-450C-BFB0-5C887A3794F1}">
      <dsp:nvSpPr>
        <dsp:cNvPr id="0" name=""/>
        <dsp:cNvSpPr/>
      </dsp:nvSpPr>
      <dsp:spPr>
        <a:xfrm>
          <a:off x="5572800" y="3255669"/>
          <a:ext cx="36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Solution Building Blocks</a:t>
          </a:r>
        </a:p>
      </dsp:txBody>
      <dsp:txXfrm>
        <a:off x="5572800" y="3255669"/>
        <a:ext cx="3600000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41FAC6-C108-492A-9B9E-74BE278BC526}">
      <dsp:nvSpPr>
        <dsp:cNvPr id="0" name=""/>
        <dsp:cNvSpPr/>
      </dsp:nvSpPr>
      <dsp:spPr>
        <a:xfrm>
          <a:off x="379476" y="0"/>
          <a:ext cx="5504687" cy="5504687"/>
        </a:xfrm>
        <a:prstGeom prst="diamond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CED899-5906-4A78-8126-514225EC66D6}">
      <dsp:nvSpPr>
        <dsp:cNvPr id="0" name=""/>
        <dsp:cNvSpPr/>
      </dsp:nvSpPr>
      <dsp:spPr>
        <a:xfrm>
          <a:off x="902421" y="522945"/>
          <a:ext cx="2146828" cy="214682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B: Business</a:t>
          </a:r>
        </a:p>
      </dsp:txBody>
      <dsp:txXfrm>
        <a:off x="1007221" y="627745"/>
        <a:ext cx="1937228" cy="1937228"/>
      </dsp:txXfrm>
    </dsp:sp>
    <dsp:sp modelId="{7A19C9D7-9C4F-4D9D-B239-542071AA57A3}">
      <dsp:nvSpPr>
        <dsp:cNvPr id="0" name=""/>
        <dsp:cNvSpPr/>
      </dsp:nvSpPr>
      <dsp:spPr>
        <a:xfrm>
          <a:off x="3214390" y="522945"/>
          <a:ext cx="2146828" cy="214682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D: Data</a:t>
          </a:r>
        </a:p>
      </dsp:txBody>
      <dsp:txXfrm>
        <a:off x="3319190" y="627745"/>
        <a:ext cx="1937228" cy="1937228"/>
      </dsp:txXfrm>
    </dsp:sp>
    <dsp:sp modelId="{813A0769-F8E0-4094-9CF2-392900C292FF}">
      <dsp:nvSpPr>
        <dsp:cNvPr id="0" name=""/>
        <dsp:cNvSpPr/>
      </dsp:nvSpPr>
      <dsp:spPr>
        <a:xfrm>
          <a:off x="902421" y="2834914"/>
          <a:ext cx="2146828" cy="214682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A: Application</a:t>
          </a:r>
        </a:p>
      </dsp:txBody>
      <dsp:txXfrm>
        <a:off x="1007221" y="2939714"/>
        <a:ext cx="1937228" cy="1937228"/>
      </dsp:txXfrm>
    </dsp:sp>
    <dsp:sp modelId="{4F82B052-9F4F-49F4-886A-1A516B922073}">
      <dsp:nvSpPr>
        <dsp:cNvPr id="0" name=""/>
        <dsp:cNvSpPr/>
      </dsp:nvSpPr>
      <dsp:spPr>
        <a:xfrm>
          <a:off x="3214390" y="2834914"/>
          <a:ext cx="2146828" cy="21468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T: Technology</a:t>
          </a:r>
        </a:p>
      </dsp:txBody>
      <dsp:txXfrm>
        <a:off x="3319190" y="2939714"/>
        <a:ext cx="1937228" cy="1937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A67935-221E-4205-BD37-9842482AC544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4A5A87-A1E3-4EF7-AA99-FD08636D8F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369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sk.optum.com/analytics?Report=126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23A84-F5A6-4A95-B341-EE82D3F52C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891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702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as of Sept 17, 2020, Credit: Phil Coppock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were identified using the following data sources and method: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he 104 CBAs from </a:t>
            </a:r>
            <a:r>
              <a:rPr lang="en-US" sz="1200" b="0" i="0" u="sng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SK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reports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The Enterprise Software PADU list from the Tech360 PLM Dashboard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removing </a:t>
            </a:r>
            <a:r>
              <a:rPr lang="en-US" sz="1200" b="0" i="1" u="sng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cceptable java, ruby, and visual studio hits in order to focus on more enterprise assets)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Cross-reference of these based on CBA Name 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Filtering on Unacceptable tech entries to determine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que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pps and PADU-U Tech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Updated PADU-TBD where possible and filtered for PADU-U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Removed any entries with 0 servers associated to tech</a:t>
            </a:r>
          </a:p>
          <a:p>
            <a:pPr marL="171450" indent="-171450">
              <a:buFontTx/>
              <a:buChar char="-"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ermined unique Apps and Te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1892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as of Sept 17, 2020, Credit: Phil Coppo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675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5900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ptured Dec 11,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F01560-87C0-4F5C-A8D4-49B8CF15AF9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515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7514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techlandscape-visualization.optum.com</a:t>
            </a:r>
            <a:r>
              <a:rPr lang="en-US" dirty="0"/>
              <a:t>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411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techlandscape-visualization.optum.com</a:t>
            </a:r>
            <a:r>
              <a:rPr lang="en-US" dirty="0"/>
              <a:t>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4834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642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293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782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022F8-5F48-4E82-806B-B853BF0D24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8FA51E-6D13-4FCC-B85B-2333DFDE11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B33E4D-C0CA-44AF-B53D-8991F4915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531FA-0C58-4443-8AA5-637F00D5D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862B5F-4D42-42B6-8AC3-D79343BF5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404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BA5AA-CD06-4DD5-BCDD-79D098F53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6A2DFB-1FF0-44E1-B152-423F7C493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BA19E7-9EC7-4DFB-A03A-5DCA49DAA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4BCAA1-AF78-482C-B539-6A1824D4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77C33E-B4BA-4546-B621-608BF4FAB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673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8AF146-6655-456A-93F2-B48413F8DF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C391B3-EBA4-412B-9F91-0DA57CF5FF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227E86-2D4D-4820-BF93-297FC36E1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7545FE-EB14-4B73-BB1C-76E6DEC6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042AC-82A3-4B79-BF30-D29AB92BA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215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2574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A4886B7-26B1-4F85-8462-29E9EF265361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785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A37B0-6620-411F-B9F6-135A1B4AE0E7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021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4DD12-C0B7-4EB7-BE19-20A981B87DFA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994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E56CE5-DA97-4927-BDBD-BB321CB1A6C4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01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A70500ED-450C-4812-8F83-812B349AAA83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2784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A330414-8BC4-47E7-ADAF-BC3527C08519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574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20176C1-58B4-4BE5-A82F-114BD71DC6F9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636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F7C6A-FFED-41B2-836B-A196C8A2A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E1EF6-7962-4C28-9F5B-6574AEB2E6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4D0C23-DDDA-4F74-BBAD-C91E436D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BACAFD-28F2-466A-9B1F-B933D3E4A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388D45-389B-4BB6-8688-4ADB7A48D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7926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EEDF620-679B-4769-9C5B-B18E80351BA7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516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DF5F5DC-57E1-49EA-8A50-93674A218190}" type="datetime1">
              <a:rPr lang="en-US" smtClean="0"/>
              <a:t>5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6112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68"/>
            <a:ext cx="7178221" cy="484632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98722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0" y="1354139"/>
            <a:ext cx="11201400" cy="4792663"/>
          </a:xfrm>
        </p:spPr>
        <p:txBody>
          <a:bodyPr/>
          <a:lstStyle>
            <a:lvl2pPr marL="171338" indent="-171338">
              <a:defRPr/>
            </a:lvl2pPr>
            <a:lvl3pPr marL="402961" indent="-164992">
              <a:defRPr/>
            </a:lvl3pPr>
            <a:lvl4pPr marL="628239" indent="-171338">
              <a:defRPr/>
            </a:lvl4pPr>
            <a:lvl5pPr marL="913801" indent="-22686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609600" y="1066800"/>
            <a:ext cx="112014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742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894" y="1354140"/>
            <a:ext cx="11195817" cy="4772025"/>
          </a:xfrm>
        </p:spPr>
        <p:txBody>
          <a:bodyPr/>
          <a:lstStyle>
            <a:lvl2pPr>
              <a:spcBef>
                <a:spcPts val="0"/>
              </a:spcBef>
              <a:spcAft>
                <a:spcPts val="800"/>
              </a:spcAft>
              <a:defRPr/>
            </a:lvl2pPr>
            <a:lvl3pPr>
              <a:spcBef>
                <a:spcPts val="0"/>
              </a:spcBef>
              <a:spcAft>
                <a:spcPts val="800"/>
              </a:spcAft>
              <a:defRPr/>
            </a:lvl3pPr>
            <a:lvl4pPr>
              <a:spcBef>
                <a:spcPts val="0"/>
              </a:spcBef>
              <a:spcAft>
                <a:spcPts val="533"/>
              </a:spcAft>
              <a:defRPr/>
            </a:lvl4pPr>
            <a:lvl5pPr>
              <a:spcBef>
                <a:spcPts val="0"/>
              </a:spcBef>
              <a:spcAft>
                <a:spcPts val="533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F18F5FCC-583C-47C6-9953-2F6AD74D46A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09600" y="1162755"/>
            <a:ext cx="112014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7188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1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1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1" y="1118283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3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err="1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3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err="1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err="1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8"/>
            <a:ext cx="6648451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err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567D776-C359-44AB-BE9A-49727ED657EB}" type="datetime1">
              <a:rPr lang="en-US" smtClean="0"/>
              <a:t>5/9/2022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1786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9B12D-92C4-3B43-B1D8-9965D43BF638}" type="datetime1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1118283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</p:spTree>
    <p:extLst>
      <p:ext uri="{BB962C8B-B14F-4D97-AF65-F5344CB8AC3E}">
        <p14:creationId xmlns:p14="http://schemas.microsoft.com/office/powerpoint/2010/main" val="3498179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FEC52-C901-425B-AD5C-23C3684FA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D20154-1B15-4F13-95E0-252CEB95A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DC9F0F-D697-400A-8FDB-29942090E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F86F7-7D67-4D6F-AC48-77C28B60E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5960BA-8A92-41E6-8764-1ED7171C2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97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64AA6-F161-4972-9329-968C8E97A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1AAFD6-C60A-406E-9999-AB1B1741E7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BD637D-84C3-4876-BBB9-D40F063528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E3BECC-3C0B-45C3-A81F-3661F9F77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7557EC-3C98-4220-AFFE-F9D2E6C06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60B9A6-6E28-482D-BEC0-2E3B65C83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206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8BE915-8626-4BB4-BD40-EB8661129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0846E-CF2C-47C2-8D19-9C08E848D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EFD2E1-2E1E-4149-8FC3-393EA6A60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27EEA-84EC-458B-8A98-8A033C1E1A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DD5B82-FEAD-4E66-9C33-0285415635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3E14C3-3486-415B-9AAB-1DEB08774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D6ACCD-C8FB-4604-B288-CF24C60A1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088648-CB30-4486-8D20-D5418FB79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899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64846-59E4-4CDB-9BFB-6EFF9ECF5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EDC8BE-3F67-4E68-B65A-AD7F1C263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B89630-8AB3-45C3-A7F3-EE2178B1D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8F224B-6FF1-4A12-B010-22BB3BCA2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093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C2AEB8-6BDF-48A7-8E68-816C0FDF7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F30C38-359E-409F-A64A-758942B34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C6A932-18E3-40CE-B321-545C0823E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395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2F46-177F-4F37-B6CA-6DA42522B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B5B83-E20A-471B-905E-93FB11F861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2014F-4DC0-4C2D-8572-152C53C266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AD4627-9495-459D-9445-865AF0620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F8349F-FC60-44AF-9694-978149E9C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DF480A-E796-4A15-A82D-48D4B095C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452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81F4B-4DC1-4F95-AE42-4FEDFB965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52CB73-04AB-447F-A6A6-43D63F8C54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01F2E-1031-4655-8E15-26468F2A45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279696-91F8-462D-92C4-3FBFF68DB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D807EA-FDB1-47E5-9DC6-FEF2222A1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5C9A5-9D0D-48DA-81E5-9747C2DC4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53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CFFA06-7CE8-470D-9E92-61A72F184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0225E-B8ED-4C2D-A90B-383D780A3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32DCB1-DAAC-4416-9D9C-CB580762FD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4849A2-AF67-4C0D-AE48-9FFF530BCA7F}" type="datetimeFigureOut">
              <a:rPr lang="en-US" smtClean="0"/>
              <a:t>5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315593-C880-4DF1-A344-E35FA74043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41B821-C2C7-404D-A40A-FBB6E8E63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032A7D-6C9C-4812-B9F4-0A10E718A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108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1C0BFA25-181E-4463-ABC4-6F794643840D}" type="datetime1">
              <a:rPr lang="en-US" smtClean="0"/>
              <a:t>5/9/2022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8" name="empower - DO NOT DELETE!!!" hidden="1"/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8" y="6448111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5" hidden="1"/>
          <p:cNvSpPr txBox="1"/>
          <p:nvPr>
            <p:custDataLst>
              <p:tags r:id="rId18"/>
            </p:custDataLst>
          </p:nvPr>
        </p:nvSpPr>
        <p:spPr>
          <a:xfrm rot="20625550">
            <a:off x="193461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7" name="Optum#LowerLeftSmallWide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1" y="6414340"/>
            <a:ext cx="8178408" cy="31324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/>
              <a:t>© 2020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95497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3816">
          <p15:clr>
            <a:srgbClr val="FDE53C"/>
          </p15:clr>
        </p15:guide>
        <p15:guide id="73" orient="horz" pos="3720">
          <p15:clr>
            <a:srgbClr val="F26B43"/>
          </p15:clr>
        </p15:guide>
        <p15:guide id="74">
          <p15:clr>
            <a:srgbClr val="F26B43"/>
          </p15:clr>
        </p15:guide>
        <p15:guide id="75" pos="7440">
          <p15:clr>
            <a:srgbClr val="F26B43"/>
          </p15:clr>
        </p15:guide>
        <p15:guide id="76" pos="264">
          <p15:clr>
            <a:srgbClr val="F26B43"/>
          </p15:clr>
        </p15:guide>
        <p15:guide id="77" orient="horz" pos="4080">
          <p15:clr>
            <a:srgbClr val="F26B43"/>
          </p15:clr>
        </p15:guide>
        <p15:guide id="78" pos="312">
          <p15:clr>
            <a:srgbClr val="F26B43"/>
          </p15:clr>
        </p15:guide>
        <p15:guide id="79" orient="horz" pos="240">
          <p15:clr>
            <a:srgbClr val="F26B43"/>
          </p15:clr>
        </p15:guide>
        <p15:guide id="80" orient="horz" pos="360">
          <p15:clr>
            <a:srgbClr val="F26B43"/>
          </p15:clr>
        </p15:guide>
        <p15:guide id="81" orient="horz" pos="696">
          <p15:clr>
            <a:srgbClr val="F26B43"/>
          </p15:clr>
        </p15:guide>
        <p15:guide id="82" orient="horz" pos="2472">
          <p15:clr>
            <a:srgbClr val="F26B43"/>
          </p15:clr>
        </p15:guide>
        <p15:guide id="83" orient="horz" pos="4224">
          <p15:clr>
            <a:srgbClr val="F26B43"/>
          </p15:clr>
        </p15:guide>
        <p15:guide id="84" pos="7392">
          <p15:clr>
            <a:srgbClr val="F26B43"/>
          </p15:clr>
        </p15:guide>
        <p15:guide id="85" pos="3864">
          <p15:clr>
            <a:srgbClr val="FDE53C"/>
          </p15:clr>
        </p15:guide>
        <p15:guide id="86" pos="2688">
          <p15:clr>
            <a:srgbClr val="F26B43"/>
          </p15:clr>
        </p15:guide>
        <p15:guide id="87" pos="4992">
          <p15:clr>
            <a:srgbClr val="F26B43"/>
          </p15:clr>
        </p15:guide>
        <p15:guide id="88" pos="2640">
          <p15:clr>
            <a:srgbClr val="F26B43"/>
          </p15:clr>
        </p15:guide>
        <p15:guide id="89" pos="5040">
          <p15:clr>
            <a:srgbClr val="F26B43"/>
          </p15:clr>
        </p15:guide>
        <p15:guide id="90" orient="horz" pos="2424">
          <p15:clr>
            <a:srgbClr val="F26B43"/>
          </p15:clr>
        </p15:guide>
        <p15:guide id="91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github.optum.com/EA/ArchitectCommunity/blob/master/Architecture%20Best%20Practices.md" TargetMode="External"/><Relationship Id="rId4" Type="http://schemas.openxmlformats.org/officeDocument/2006/relationships/hyperlink" Target="https://hubconnect.uhg.com/docs/DOC-146436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package" Target="../embeddings/Microsoft_Excel_Worksheet3.xlsx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E1BEB12-92AF-4445-98AD-4C7756E7C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522C2C-7B5C-48A7-A969-03941E5D2E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769476" y="220196"/>
            <a:ext cx="9422524" cy="6637806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6EE29F2-D77F-4BD0-A20B-334D316A1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09800" y="2099696"/>
            <a:ext cx="1942241" cy="188955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22D09ED2-868F-42C6-866E-F92E0CEF3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520172">
            <a:off x="1613162" y="1492572"/>
            <a:ext cx="2987899" cy="2987899"/>
          </a:xfrm>
          <a:prstGeom prst="arc">
            <a:avLst>
              <a:gd name="adj1" fmla="val 14455503"/>
              <a:gd name="adj2" fmla="val 227775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EF2928-6340-469A-81D8-A8C8E47B09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38600" y="1939159"/>
            <a:ext cx="7644627" cy="2751086"/>
          </a:xfrm>
        </p:spPr>
        <p:txBody>
          <a:bodyPr>
            <a:normAutofit/>
          </a:bodyPr>
          <a:lstStyle/>
          <a:p>
            <a:pPr algn="r"/>
            <a:r>
              <a:rPr lang="en-US" dirty="0"/>
              <a:t>PADU Concepts</a:t>
            </a:r>
            <a:br>
              <a:rPr lang="en-US" dirty="0"/>
            </a:br>
            <a:r>
              <a:rPr lang="en-US" dirty="0"/>
              <a:t>Business &amp; Technolo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17E7BC-C1DF-4E64-B840-043BBA3534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38600" y="4782320"/>
            <a:ext cx="7644627" cy="1329443"/>
          </a:xfrm>
        </p:spPr>
        <p:txBody>
          <a:bodyPr>
            <a:normAutofit/>
          </a:bodyPr>
          <a:lstStyle/>
          <a:p>
            <a:pPr algn="r"/>
            <a:r>
              <a:rPr lang="en-US" dirty="0"/>
              <a:t>Vikas Anan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50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11315700" cy="1074058"/>
          </a:xfrm>
        </p:spPr>
        <p:txBody>
          <a:bodyPr anchor="b">
            <a:normAutofit/>
          </a:bodyPr>
          <a:lstStyle/>
          <a:p>
            <a:r>
              <a:rPr lang="en-US"/>
              <a:t>While we have mapped a majority of our application to PADU, we simply have too many classified as “Preferred/Acceptable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707B9A-1D91-3E42-A65E-402B7D1854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642" y="1825625"/>
            <a:ext cx="10315015" cy="4074432"/>
          </a:xfrm>
          <a:prstGeom prst="rect">
            <a:avLst/>
          </a:prstGeom>
          <a:noFill/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4218F9C6-10D6-4712-A8CC-F2449FF60A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48001" y="6414340"/>
            <a:ext cx="8178408" cy="31324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A5AB65BA-14AB-4100-B18C-A81E2EF3A3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5408" y="6448111"/>
            <a:ext cx="539496" cy="23083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029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A6C0BD-0316-44E5-85BD-A15C4C846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10D8EA-3107-4873-B9AB-DD7D3E7905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5565A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5565A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B903F9-4D39-474E-B577-F72339112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259" y="140088"/>
            <a:ext cx="11315699" cy="893763"/>
          </a:xfrm>
        </p:spPr>
        <p:txBody>
          <a:bodyPr/>
          <a:lstStyle/>
          <a:p>
            <a:r>
              <a:rPr lang="en-US" dirty="0"/>
              <a:t>Our approach is also intended to be more aggressive pre and post close when it come to integrating and rationalizing acquired ent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255B4C-46D3-48CE-9BB1-03617F32A86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44404" y="1746781"/>
            <a:ext cx="11195049" cy="4192331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0"/>
              </a:spcBef>
              <a:spcAft>
                <a:spcPts val="1600"/>
              </a:spcAft>
            </a:pPr>
            <a:r>
              <a:rPr lang="en-US" sz="1600" b="1" dirty="0">
                <a:solidFill>
                  <a:schemeClr val="tx1"/>
                </a:solidFill>
              </a:rPr>
              <a:t>Examples</a:t>
            </a:r>
            <a:r>
              <a:rPr lang="en-US" sz="1600" dirty="0">
                <a:solidFill>
                  <a:schemeClr val="tx1"/>
                </a:solidFill>
              </a:rPr>
              <a:t>: Rally &amp; IHR</a:t>
            </a:r>
          </a:p>
          <a:p>
            <a:pPr>
              <a:spcBef>
                <a:spcPts val="0"/>
              </a:spcBef>
              <a:spcAft>
                <a:spcPts val="1600"/>
              </a:spcAft>
            </a:pPr>
            <a:r>
              <a:rPr lang="en-US" sz="1600" b="1" dirty="0">
                <a:solidFill>
                  <a:schemeClr val="tx1"/>
                </a:solidFill>
              </a:rPr>
              <a:t>Problem Statement</a:t>
            </a:r>
            <a:r>
              <a:rPr lang="en-US" sz="1600" dirty="0">
                <a:solidFill>
                  <a:schemeClr val="tx1"/>
                </a:solidFill>
              </a:rPr>
              <a:t>: Enterprise value is lost when we do not intentionally include acquired capabilities into our platform ecosystem</a:t>
            </a:r>
            <a:endParaRPr lang="en-US" sz="1600" dirty="0">
              <a:solidFill>
                <a:schemeClr val="tx1"/>
              </a:solidFill>
              <a:cs typeface="Arial"/>
            </a:endParaRPr>
          </a:p>
          <a:p>
            <a:pPr>
              <a:spcBef>
                <a:spcPts val="0"/>
              </a:spcBef>
              <a:spcAft>
                <a:spcPts val="1600"/>
              </a:spcAft>
            </a:pPr>
            <a:r>
              <a:rPr lang="en-US" sz="1600" b="1" dirty="0">
                <a:solidFill>
                  <a:schemeClr val="tx1"/>
                </a:solidFill>
              </a:rPr>
              <a:t>Solution</a:t>
            </a:r>
            <a:r>
              <a:rPr lang="en-US" sz="1600" dirty="0">
                <a:solidFill>
                  <a:schemeClr val="tx1"/>
                </a:solidFill>
              </a:rPr>
              <a:t>: Connect pre and post-acquisition activities by building upon the M&amp;A due-diligence framework created by E&amp;I Architecture team </a:t>
            </a:r>
            <a:endParaRPr lang="en-US" sz="1600" dirty="0">
              <a:solidFill>
                <a:schemeClr val="tx1"/>
              </a:solidFill>
              <a:cs typeface="Arial"/>
            </a:endParaRPr>
          </a:p>
          <a:p>
            <a:pPr>
              <a:spcBef>
                <a:spcPts val="0"/>
              </a:spcBef>
              <a:spcAft>
                <a:spcPts val="1600"/>
              </a:spcAft>
            </a:pPr>
            <a:r>
              <a:rPr lang="en-US" sz="1600" b="1" dirty="0">
                <a:solidFill>
                  <a:schemeClr val="tx1"/>
                </a:solidFill>
              </a:rPr>
              <a:t>How</a:t>
            </a:r>
            <a:endParaRPr lang="en-US" sz="1600" b="1" dirty="0">
              <a:solidFill>
                <a:schemeClr val="tx1"/>
              </a:solidFill>
              <a:cs typeface="Arial"/>
            </a:endParaRPr>
          </a:p>
          <a:p>
            <a:pPr marL="304792" lvl="1" indent="-304792">
              <a:spcAft>
                <a:spcPts val="1600"/>
              </a:spcAft>
              <a:buClrTx/>
            </a:pPr>
            <a:r>
              <a:rPr lang="en-US" sz="1600" dirty="0"/>
              <a:t>Use pre-close due diligence outputs to drive additional PDAU and decom activities</a:t>
            </a:r>
            <a:endParaRPr lang="en-US" sz="1600" dirty="0">
              <a:cs typeface="Arial"/>
            </a:endParaRPr>
          </a:p>
          <a:p>
            <a:pPr marL="304792" lvl="1" indent="-304792">
              <a:spcAft>
                <a:spcPts val="1600"/>
              </a:spcAft>
              <a:buClrTx/>
            </a:pPr>
            <a:r>
              <a:rPr lang="en-US" sz="1600" dirty="0"/>
              <a:t>Expand EA community to include technology leaders of acquired companies</a:t>
            </a:r>
            <a:endParaRPr lang="en-US" sz="1600" dirty="0">
              <a:cs typeface="Arial"/>
            </a:endParaRPr>
          </a:p>
          <a:p>
            <a:pPr marL="304792" lvl="1" indent="-304792">
              <a:spcAft>
                <a:spcPts val="1600"/>
              </a:spcAft>
              <a:buClrTx/>
            </a:pPr>
            <a:r>
              <a:rPr lang="en-US" sz="1600" dirty="0"/>
              <a:t>Standardize pre/post acquisition EA framework across </a:t>
            </a:r>
            <a:r>
              <a:rPr lang="en-US" sz="1600" dirty="0" err="1"/>
              <a:t>LoBs</a:t>
            </a:r>
            <a:r>
              <a:rPr lang="en-US" sz="1600" dirty="0"/>
              <a:t> and corporate</a:t>
            </a:r>
            <a:endParaRPr lang="en-US" sz="1600" dirty="0">
              <a:cs typeface="Arial"/>
            </a:endParaRPr>
          </a:p>
          <a:p>
            <a:pPr marL="0" lvl="1" indent="0">
              <a:spcAft>
                <a:spcPts val="1600"/>
              </a:spcAft>
              <a:buNone/>
            </a:pPr>
            <a:r>
              <a:rPr lang="en-US" sz="1600" b="1" dirty="0"/>
              <a:t>Benefit – </a:t>
            </a:r>
            <a:r>
              <a:rPr lang="en-US" sz="1600" dirty="0"/>
              <a:t>Shorter time to derive enterprise platform value of acquired technology, reduction of duplicative solutions </a:t>
            </a:r>
            <a:endParaRPr lang="en-US" sz="1600" dirty="0">
              <a:cs typeface="Arial"/>
            </a:endParaRPr>
          </a:p>
          <a:p>
            <a:pPr marL="0" lvl="1" indent="0">
              <a:spcAft>
                <a:spcPts val="1600"/>
              </a:spcAft>
              <a:buNone/>
            </a:pPr>
            <a:endParaRPr lang="en-US" sz="16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A2E89C-3187-4576-BC7E-EEAA06990F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5241" y="1229344"/>
            <a:ext cx="11315700" cy="493184"/>
          </a:xfrm>
        </p:spPr>
        <p:txBody>
          <a:bodyPr/>
          <a:lstStyle/>
          <a:p>
            <a:r>
              <a:rPr lang="en-US" sz="1867" dirty="0">
                <a:solidFill>
                  <a:schemeClr val="tx1"/>
                </a:solidFill>
              </a:rPr>
              <a:t>Benefit Multiplier of Acquired Platform Capabilities</a:t>
            </a:r>
          </a:p>
        </p:txBody>
      </p:sp>
    </p:spTree>
    <p:extLst>
      <p:ext uri="{BB962C8B-B14F-4D97-AF65-F5344CB8AC3E}">
        <p14:creationId xmlns:p14="http://schemas.microsoft.com/office/powerpoint/2010/main" val="3816918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US" sz="3200" dirty="0"/>
              <a:t>We continue to evolve our Technology PADU approach to support our enterprise strategies</a:t>
            </a:r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47F1E7FC-3D75-E54E-9595-6DFF404AA35B}"/>
              </a:ext>
            </a:extLst>
          </p:cNvPr>
          <p:cNvSpPr txBox="1">
            <a:spLocks/>
          </p:cNvSpPr>
          <p:nvPr/>
        </p:nvSpPr>
        <p:spPr bwMode="gray">
          <a:xfrm>
            <a:off x="434339" y="1596923"/>
            <a:ext cx="11376660" cy="40897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8788" indent="-2301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14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terprise Technology Strategies:</a:t>
            </a:r>
          </a:p>
          <a:p>
            <a:pPr marL="515926" marR="0" lvl="1" indent="-285744" algn="l" defTabSz="914400" rtl="0" eaLnBrk="1" fontAlgn="base" latinLnBrk="0" hangingPunct="1">
              <a:lnSpc>
                <a:spcPct val="95000"/>
              </a:lnSpc>
              <a:spcBef>
                <a:spcPts val="800"/>
              </a:spcBef>
              <a:spcAft>
                <a:spcPts val="160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ance our technology strategies of 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d open source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increased 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ineer competence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nd 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reased vendor dependence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​</a:t>
            </a:r>
          </a:p>
          <a:p>
            <a:pPr marL="515926" marR="0" lvl="1" indent="-285744" algn="l" defTabSz="914400" rtl="0" eaLnBrk="1" fontAlgn="base" latinLnBrk="0" hangingPunct="1">
              <a:lnSpc>
                <a:spcPct val="95000"/>
              </a:lnSpc>
              <a:spcBef>
                <a:spcPts val="800"/>
              </a:spcBef>
              <a:spcAft>
                <a:spcPts val="160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lerate project delivery 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 constraining the available options which limits technology-based uncertainty and constrain proliferation​</a:t>
            </a:r>
          </a:p>
          <a:p>
            <a:pPr marL="515926" marR="0" lvl="1" indent="-285744" algn="l" defTabSz="914400" rtl="0" eaLnBrk="1" fontAlgn="base" latinLnBrk="0" hangingPunct="1">
              <a:lnSpc>
                <a:spcPct val="95000"/>
              </a:lnSpc>
              <a:spcBef>
                <a:spcPts val="800"/>
              </a:spcBef>
              <a:spcAft>
                <a:spcPts val="160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mote cloud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based infrastructure for the virtues of availability/elasticity etc., scaling with utilization​</a:t>
            </a:r>
          </a:p>
          <a:p>
            <a:pPr marL="515926" marR="0" lvl="1" indent="-285744" algn="l" defTabSz="914400" rtl="0" eaLnBrk="1" fontAlgn="base" latinLnBrk="0" hangingPunct="1">
              <a:lnSpc>
                <a:spcPct val="95000"/>
              </a:lnSpc>
              <a:spcBef>
                <a:spcPts val="800"/>
              </a:spcBef>
              <a:spcAft>
                <a:spcPts val="1600"/>
              </a:spcAft>
              <a:buClr>
                <a:srgbClr val="E8772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rease spend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on non-cap tech and vendors to meet MOVE objectives​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9694AB89-8A4E-4322-90CE-B6AB41C5E61E}"/>
              </a:ext>
            </a:extLst>
          </p:cNvPr>
          <p:cNvSpPr txBox="1">
            <a:spLocks/>
          </p:cNvSpPr>
          <p:nvPr/>
        </p:nvSpPr>
        <p:spPr>
          <a:xfrm>
            <a:off x="11849101" y="6517217"/>
            <a:ext cx="133895" cy="19709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CA7E87-410D-4887-AABD-1ABCEA8A29CF}" type="slidenum"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123705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Capability / Landscape Overview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3971925" y="6486983"/>
            <a:ext cx="444341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55565A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8448675" y="6486983"/>
            <a:ext cx="40685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10D8EA-3107-4873-B9AB-DD7D3E7905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5565A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5565A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2A8F66F-C0C2-CA4B-98BA-9B29261F2D3F}"/>
              </a:ext>
            </a:extLst>
          </p:cNvPr>
          <p:cNvSpPr/>
          <p:nvPr/>
        </p:nvSpPr>
        <p:spPr>
          <a:xfrm>
            <a:off x="5637434" y="5329744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47E4708-B40D-804E-AF4A-F35D74F578F4}"/>
              </a:ext>
            </a:extLst>
          </p:cNvPr>
          <p:cNvSpPr/>
          <p:nvPr/>
        </p:nvSpPr>
        <p:spPr>
          <a:xfrm>
            <a:off x="2975369" y="4832014"/>
            <a:ext cx="523560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ut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717D07A-B3C6-444E-804B-126CC8EA7FBB}"/>
              </a:ext>
            </a:extLst>
          </p:cNvPr>
          <p:cNvSpPr/>
          <p:nvPr/>
        </p:nvSpPr>
        <p:spPr>
          <a:xfrm>
            <a:off x="2983521" y="3836557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 User Comput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8F35C9F-DFF8-134F-93E0-0FCF0F53F63A}"/>
              </a:ext>
            </a:extLst>
          </p:cNvPr>
          <p:cNvSpPr/>
          <p:nvPr/>
        </p:nvSpPr>
        <p:spPr>
          <a:xfrm>
            <a:off x="2983521" y="3338829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 Management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inance, Accounting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AE59B03-CFAC-8248-B723-3FEEF042A483}"/>
              </a:ext>
            </a:extLst>
          </p:cNvPr>
          <p:cNvSpPr/>
          <p:nvPr/>
        </p:nvSpPr>
        <p:spPr>
          <a:xfrm>
            <a:off x="2983521" y="2841101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ent Managemen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298F330-1A5B-CB45-BE3D-F0C2CA600EF9}"/>
              </a:ext>
            </a:extLst>
          </p:cNvPr>
          <p:cNvSpPr/>
          <p:nvPr/>
        </p:nvSpPr>
        <p:spPr>
          <a:xfrm>
            <a:off x="2983522" y="2352341"/>
            <a:ext cx="2563642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er Tool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856363E-9183-CF47-B74E-807D2D667BC8}"/>
              </a:ext>
            </a:extLst>
          </p:cNvPr>
          <p:cNvSpPr/>
          <p:nvPr/>
        </p:nvSpPr>
        <p:spPr>
          <a:xfrm>
            <a:off x="2983522" y="1860373"/>
            <a:ext cx="523560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 Service Managemen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90B2CBA-2ABF-894C-BBCF-ED3289CBF821}"/>
              </a:ext>
            </a:extLst>
          </p:cNvPr>
          <p:cNvSpPr/>
          <p:nvPr/>
        </p:nvSpPr>
        <p:spPr>
          <a:xfrm rot="5400000">
            <a:off x="6604903" y="3564867"/>
            <a:ext cx="3860335" cy="4513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en-US" sz="9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d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y Saa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0E5A840-2F7A-104A-9CD0-BED1470F9127}"/>
              </a:ext>
            </a:extLst>
          </p:cNvPr>
          <p:cNvSpPr/>
          <p:nvPr/>
        </p:nvSpPr>
        <p:spPr>
          <a:xfrm rot="5400000">
            <a:off x="7146517" y="3564867"/>
            <a:ext cx="3860335" cy="4513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urity, Identity &amp; Complianc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C459F2A-105B-AB46-8B50-C55137E6014E}"/>
              </a:ext>
            </a:extLst>
          </p:cNvPr>
          <p:cNvSpPr/>
          <p:nvPr/>
        </p:nvSpPr>
        <p:spPr>
          <a:xfrm>
            <a:off x="5637434" y="3837301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(Mgmt., Migration, DB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F40B539-4BE8-CD46-B650-41AF11981C96}"/>
              </a:ext>
            </a:extLst>
          </p:cNvPr>
          <p:cNvSpPr/>
          <p:nvPr/>
        </p:nvSpPr>
        <p:spPr>
          <a:xfrm>
            <a:off x="5637434" y="3332333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lytics Enablemen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8D3FCBF-01FB-DB4F-8E45-D377C712027E}"/>
              </a:ext>
            </a:extLst>
          </p:cNvPr>
          <p:cNvSpPr/>
          <p:nvPr/>
        </p:nvSpPr>
        <p:spPr>
          <a:xfrm>
            <a:off x="5637434" y="2840364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I/ML/Geospatia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706CA54-8185-1E4C-9559-0A14CA937DCD}"/>
              </a:ext>
            </a:extLst>
          </p:cNvPr>
          <p:cNvSpPr txBox="1"/>
          <p:nvPr/>
        </p:nvSpPr>
        <p:spPr>
          <a:xfrm>
            <a:off x="7488221" y="1973027"/>
            <a:ext cx="63030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ke Tesme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4EE68BC-71E4-6947-88D4-28D1AF388A2A}"/>
              </a:ext>
            </a:extLst>
          </p:cNvPr>
          <p:cNvSpPr txBox="1"/>
          <p:nvPr/>
        </p:nvSpPr>
        <p:spPr>
          <a:xfrm>
            <a:off x="7182450" y="2434336"/>
            <a:ext cx="51488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b Peck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7E015C3-9BCE-0F49-ADD4-0E4EEED550A3}"/>
              </a:ext>
            </a:extLst>
          </p:cNvPr>
          <p:cNvSpPr txBox="1"/>
          <p:nvPr/>
        </p:nvSpPr>
        <p:spPr>
          <a:xfrm>
            <a:off x="7515472" y="2964377"/>
            <a:ext cx="57579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sh Cutler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2DA7D56-6B71-1B48-B9E4-04058B5BCC58}"/>
              </a:ext>
            </a:extLst>
          </p:cNvPr>
          <p:cNvSpPr txBox="1"/>
          <p:nvPr/>
        </p:nvSpPr>
        <p:spPr>
          <a:xfrm>
            <a:off x="4955588" y="2912072"/>
            <a:ext cx="636584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issa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icek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E2986F6-1D5B-FB40-82B3-F6BF35F04394}"/>
              </a:ext>
            </a:extLst>
          </p:cNvPr>
          <p:cNvSpPr txBox="1"/>
          <p:nvPr/>
        </p:nvSpPr>
        <p:spPr>
          <a:xfrm>
            <a:off x="4947081" y="3417962"/>
            <a:ext cx="636584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son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s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62791C7-56F5-2C4D-9E06-15677EEF3C5D}"/>
              </a:ext>
            </a:extLst>
          </p:cNvPr>
          <p:cNvSpPr txBox="1"/>
          <p:nvPr/>
        </p:nvSpPr>
        <p:spPr>
          <a:xfrm>
            <a:off x="4964741" y="3866684"/>
            <a:ext cx="63658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d Walke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366AEFC-6AC8-8B4A-89B6-32E7FC7C91A9}"/>
              </a:ext>
            </a:extLst>
          </p:cNvPr>
          <p:cNvSpPr txBox="1"/>
          <p:nvPr/>
        </p:nvSpPr>
        <p:spPr>
          <a:xfrm>
            <a:off x="6320056" y="4914703"/>
            <a:ext cx="1910035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nk Orr  (physical, virtual)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her Mickman (HCC, PaaS, containers)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855268E-6C8E-9A4B-8FB2-97FAEC50BD3B}"/>
              </a:ext>
            </a:extLst>
          </p:cNvPr>
          <p:cNvSpPr txBox="1"/>
          <p:nvPr/>
        </p:nvSpPr>
        <p:spPr>
          <a:xfrm>
            <a:off x="7425703" y="5465427"/>
            <a:ext cx="75533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nk Or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73E4C84-5370-7C45-BACF-FCAFD5C446AE}"/>
              </a:ext>
            </a:extLst>
          </p:cNvPr>
          <p:cNvSpPr txBox="1"/>
          <p:nvPr/>
        </p:nvSpPr>
        <p:spPr>
          <a:xfrm>
            <a:off x="6792738" y="4097293"/>
            <a:ext cx="689888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nk Or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3AAC986-E69E-ED46-A431-5ADCFB63A028}"/>
              </a:ext>
            </a:extLst>
          </p:cNvPr>
          <p:cNvSpPr txBox="1"/>
          <p:nvPr/>
        </p:nvSpPr>
        <p:spPr>
          <a:xfrm>
            <a:off x="6207928" y="4087960"/>
            <a:ext cx="623632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mie Burnet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DFED16E-15D0-5F4F-B3CA-221C1639C779}"/>
              </a:ext>
            </a:extLst>
          </p:cNvPr>
          <p:cNvSpPr txBox="1"/>
          <p:nvPr/>
        </p:nvSpPr>
        <p:spPr>
          <a:xfrm rot="5400000">
            <a:off x="8780293" y="5319658"/>
            <a:ext cx="61651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ison Miller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BE97E06-11B1-2C4A-B871-EE3BA3D8B5C6}"/>
              </a:ext>
            </a:extLst>
          </p:cNvPr>
          <p:cNvSpPr txBox="1"/>
          <p:nvPr/>
        </p:nvSpPr>
        <p:spPr>
          <a:xfrm rot="5400000">
            <a:off x="8226813" y="5273494"/>
            <a:ext cx="61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chard Scot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A89DCE-F59F-1941-A3FF-9407C7A30D67}"/>
              </a:ext>
            </a:extLst>
          </p:cNvPr>
          <p:cNvSpPr txBox="1"/>
          <p:nvPr/>
        </p:nvSpPr>
        <p:spPr>
          <a:xfrm>
            <a:off x="7482626" y="4094127"/>
            <a:ext cx="720799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her Mickman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35504B6-2111-7C47-810C-43AF9065A976}"/>
              </a:ext>
            </a:extLst>
          </p:cNvPr>
          <p:cNvGrpSpPr/>
          <p:nvPr/>
        </p:nvGrpSpPr>
        <p:grpSpPr>
          <a:xfrm>
            <a:off x="2983523" y="5329743"/>
            <a:ext cx="2581696" cy="409974"/>
            <a:chOff x="1752602" y="4289202"/>
            <a:chExt cx="2284262" cy="361926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9FA4FF9-BF64-214F-A397-E4E6B0C84190}"/>
                </a:ext>
              </a:extLst>
            </p:cNvPr>
            <p:cNvSpPr/>
            <p:nvPr/>
          </p:nvSpPr>
          <p:spPr>
            <a:xfrm>
              <a:off x="1752602" y="4289202"/>
              <a:ext cx="2284262" cy="36192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twork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DE45821-6C2E-4A4F-8A6E-787A6F185FC7}"/>
                </a:ext>
              </a:extLst>
            </p:cNvPr>
            <p:cNvSpPr txBox="1"/>
            <p:nvPr/>
          </p:nvSpPr>
          <p:spPr>
            <a:xfrm>
              <a:off x="3352574" y="4383601"/>
              <a:ext cx="668315" cy="16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Jason </a:t>
              </a:r>
              <a:r>
                <a:rPr kumimoji="0" lang="en-US" sz="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llinger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98FB210-2741-E04F-938E-13AB49E9D3DC}"/>
              </a:ext>
            </a:extLst>
          </p:cNvPr>
          <p:cNvGrpSpPr/>
          <p:nvPr/>
        </p:nvGrpSpPr>
        <p:grpSpPr>
          <a:xfrm>
            <a:off x="2975369" y="4334285"/>
            <a:ext cx="2597209" cy="409974"/>
            <a:chOff x="1746910" y="3831057"/>
            <a:chExt cx="4645584" cy="361926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77342EE-6E39-7F4B-B109-7D00918E8285}"/>
                </a:ext>
              </a:extLst>
            </p:cNvPr>
            <p:cNvSpPr/>
            <p:nvPr/>
          </p:nvSpPr>
          <p:spPr>
            <a:xfrm>
              <a:off x="1746910" y="3831057"/>
              <a:ext cx="4632419" cy="36192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perations Management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22D5C9E-4EA5-B84D-BF0F-176DE703A5C2}"/>
                </a:ext>
              </a:extLst>
            </p:cNvPr>
            <p:cNvSpPr txBox="1"/>
            <p:nvPr/>
          </p:nvSpPr>
          <p:spPr>
            <a:xfrm>
              <a:off x="5305266" y="3881933"/>
              <a:ext cx="1087228" cy="2445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John Garner</a:t>
              </a:r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9F457703-E999-544C-9382-08920BF6512F}"/>
              </a:ext>
            </a:extLst>
          </p:cNvPr>
          <p:cNvSpPr/>
          <p:nvPr/>
        </p:nvSpPr>
        <p:spPr>
          <a:xfrm>
            <a:off x="5621919" y="4329275"/>
            <a:ext cx="2589849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niChannel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Contact Cen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B240FAD-E809-7142-825B-E2A1068D8A52}"/>
              </a:ext>
            </a:extLst>
          </p:cNvPr>
          <p:cNvSpPr txBox="1"/>
          <p:nvPr/>
        </p:nvSpPr>
        <p:spPr>
          <a:xfrm>
            <a:off x="7471103" y="4386906"/>
            <a:ext cx="664537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aig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arth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8047116-9E3B-BA49-89FD-9A239C34EB76}"/>
              </a:ext>
            </a:extLst>
          </p:cNvPr>
          <p:cNvSpPr/>
          <p:nvPr/>
        </p:nvSpPr>
        <p:spPr>
          <a:xfrm>
            <a:off x="5621730" y="2354090"/>
            <a:ext cx="2581696" cy="4099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 Integratio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211CCD3-33E8-0443-AEFD-76F488485F47}"/>
              </a:ext>
            </a:extLst>
          </p:cNvPr>
          <p:cNvSpPr txBox="1"/>
          <p:nvPr/>
        </p:nvSpPr>
        <p:spPr>
          <a:xfrm>
            <a:off x="7408071" y="2467401"/>
            <a:ext cx="79060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her Mickman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1433646-9C85-CF44-A41E-AC8DA7BF20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/>
              <a:t>Expressing our technology capabilities with OT leadership as owne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F29ADE-C25E-F64D-A47B-FBE669E2180F}"/>
              </a:ext>
            </a:extLst>
          </p:cNvPr>
          <p:cNvSpPr txBox="1"/>
          <p:nvPr/>
        </p:nvSpPr>
        <p:spPr>
          <a:xfrm>
            <a:off x="4955588" y="2409711"/>
            <a:ext cx="6365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b</a:t>
            </a:r>
          </a:p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ck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26A375C-D4B7-1549-9206-2E2D197BC7AF}"/>
              </a:ext>
            </a:extLst>
          </p:cNvPr>
          <p:cNvSpPr txBox="1"/>
          <p:nvPr/>
        </p:nvSpPr>
        <p:spPr>
          <a:xfrm>
            <a:off x="7408071" y="3463820"/>
            <a:ext cx="79060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ther Mickman</a:t>
            </a:r>
          </a:p>
        </p:txBody>
      </p:sp>
    </p:spTree>
    <p:extLst>
      <p:ext uri="{BB962C8B-B14F-4D97-AF65-F5344CB8AC3E}">
        <p14:creationId xmlns:p14="http://schemas.microsoft.com/office/powerpoint/2010/main" val="5310672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FB1E3-9CC7-7142-B2D1-AF6135858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&amp; Enterprise Strategy Alignment via PAD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7DC9BC-D317-E647-81EE-624246C76C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oal: Accelerate decision-making by reducing complex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69437-E9E4-6F45-A127-D4D63EE0DD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C4AFE-2F7E-7841-9D02-D47083336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B40BDA-EF23-0D4C-8B8F-D72507E298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758" y="5869163"/>
            <a:ext cx="3098800" cy="16933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1FAC2C3-9DC6-E74B-8C85-6B469C8AB8E0}"/>
              </a:ext>
            </a:extLst>
          </p:cNvPr>
          <p:cNvSpPr txBox="1"/>
          <p:nvPr/>
        </p:nvSpPr>
        <p:spPr>
          <a:xfrm>
            <a:off x="917285" y="1909129"/>
            <a:ext cx="3655873" cy="3416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erprise Technology Landscap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8791AEE-B70F-A943-A7E7-F03FD886FB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8194" y="2409830"/>
            <a:ext cx="6748384" cy="3749916"/>
          </a:xfrm>
        </p:spPr>
        <p:txBody>
          <a:bodyPr/>
          <a:lstStyle/>
          <a:p>
            <a:pPr marL="573088" lvl="1" indent="-342900" fontAlgn="ctr"/>
            <a:r>
              <a:rPr lang="en-US" dirty="0"/>
              <a:t>1,970 entries - 400 new titles this year</a:t>
            </a:r>
          </a:p>
          <a:p>
            <a:pPr marL="573088" lvl="1" indent="-342900" fontAlgn="ctr"/>
            <a:r>
              <a:rPr lang="en-US" dirty="0"/>
              <a:t>40,000 page views</a:t>
            </a:r>
          </a:p>
          <a:p>
            <a:pPr marL="573088" lvl="1" indent="-342900" fontAlgn="ctr"/>
            <a:r>
              <a:rPr lang="en-US" dirty="0"/>
              <a:t>40 Contributors</a:t>
            </a:r>
          </a:p>
          <a:p>
            <a:pPr marL="573088" lvl="1" indent="-342900" fontAlgn="ctr"/>
            <a:r>
              <a:rPr lang="en-US" dirty="0"/>
              <a:t>REST API &amp; </a:t>
            </a:r>
            <a:r>
              <a:rPr lang="en-US" dirty="0" err="1"/>
              <a:t>Flowdock</a:t>
            </a:r>
            <a:r>
              <a:rPr lang="en-US" dirty="0"/>
              <a:t> </a:t>
            </a:r>
            <a:r>
              <a:rPr lang="en-US" dirty="0" err="1"/>
              <a:t>ChatBot</a:t>
            </a:r>
            <a:endParaRPr lang="en-US" dirty="0"/>
          </a:p>
          <a:p>
            <a:pPr marL="573088" lvl="1" indent="-342900" fontAlgn="ctr"/>
            <a:r>
              <a:rPr lang="en-US" dirty="0"/>
              <a:t>Refined capability domains (Data Management, Digital, </a:t>
            </a:r>
            <a:r>
              <a:rPr lang="en-US" dirty="0" err="1"/>
              <a:t>OmniChannel</a:t>
            </a:r>
            <a:r>
              <a:rPr lang="en-US" dirty="0"/>
              <a:t>/Voice, AI, Operations)</a:t>
            </a:r>
          </a:p>
          <a:p>
            <a:pPr marL="573088" lvl="1" indent="-342900" fontAlgn="ctr"/>
            <a:r>
              <a:rPr lang="en-US" dirty="0"/>
              <a:t>License compliance integration via Barista</a:t>
            </a:r>
          </a:p>
          <a:p>
            <a:pPr marL="573088" lvl="1" indent="-342900" fontAlgn="ctr"/>
            <a:r>
              <a:rPr lang="en-US" dirty="0" err="1"/>
              <a:t>TechHub</a:t>
            </a:r>
            <a:r>
              <a:rPr lang="en-US" dirty="0"/>
              <a:t> integration for IT Product offerings</a:t>
            </a:r>
          </a:p>
          <a:p>
            <a:pPr marL="573088" lvl="1" indent="-342900" fontAlgn="ctr"/>
            <a:r>
              <a:rPr lang="en-US" dirty="0"/>
              <a:t>Desktop software PADU transitioned to AppStore</a:t>
            </a:r>
          </a:p>
          <a:p>
            <a:pPr marL="573088" lvl="1" indent="-342900" fontAlgn="ctr"/>
            <a:r>
              <a:rPr lang="en-US" dirty="0"/>
              <a:t>Rally Health tech inventory addi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450892-0DC5-3B4F-8BED-8FA5EF29D9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285" y="2370073"/>
            <a:ext cx="3655873" cy="32427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8E42120-A4F8-F341-A6F7-D699F41C78A6}"/>
              </a:ext>
            </a:extLst>
          </p:cNvPr>
          <p:cNvSpPr txBox="1"/>
          <p:nvPr/>
        </p:nvSpPr>
        <p:spPr>
          <a:xfrm>
            <a:off x="2396407" y="3894314"/>
            <a:ext cx="697627" cy="3416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70</a:t>
            </a:r>
          </a:p>
        </p:txBody>
      </p:sp>
    </p:spTree>
    <p:extLst>
      <p:ext uri="{BB962C8B-B14F-4D97-AF65-F5344CB8AC3E}">
        <p14:creationId xmlns:p14="http://schemas.microsoft.com/office/powerpoint/2010/main" val="27685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FB1E3-9CC7-7142-B2D1-AF6135858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&amp; Enterprise Strategy Alignment via PADU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7DC9BC-D317-E647-81EE-624246C76C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oal: Accelerate decision-making by reducing complex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A69437-E9E4-6F45-A127-D4D63EE0DD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C4AFE-2F7E-7841-9D02-D47083336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8791AEE-B70F-A943-A7E7-F03FD886FB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8194" y="2409830"/>
            <a:ext cx="6748384" cy="3749916"/>
          </a:xfrm>
        </p:spPr>
        <p:txBody>
          <a:bodyPr/>
          <a:lstStyle/>
          <a:p>
            <a:pPr marL="573088" lvl="1" indent="-342900" fontAlgn="ctr"/>
            <a:r>
              <a:rPr lang="en-US" dirty="0"/>
              <a:t>7000 total software titles in AppStore</a:t>
            </a:r>
          </a:p>
          <a:p>
            <a:pPr marL="573088" lvl="1" indent="-342900" fontAlgn="ctr"/>
            <a:r>
              <a:rPr lang="en-US" dirty="0"/>
              <a:t>3500+ PADU assignments</a:t>
            </a:r>
          </a:p>
          <a:p>
            <a:pPr marL="573088" lvl="1" indent="-342900" fontAlgn="ctr"/>
            <a:r>
              <a:rPr lang="en-US" dirty="0"/>
              <a:t>Capability Domain alignment to Tech Landscape</a:t>
            </a:r>
          </a:p>
          <a:p>
            <a:pPr marL="573088" lvl="1" indent="-342900" fontAlgn="ctr"/>
            <a:r>
              <a:rPr lang="en-US" dirty="0"/>
              <a:t>Workgroup Representative e-mail distribution lists</a:t>
            </a:r>
          </a:p>
          <a:p>
            <a:pPr marL="573088" lvl="1" indent="-342900" fontAlgn="ctr"/>
            <a:r>
              <a:rPr lang="en-US" dirty="0"/>
              <a:t>Procurement &amp; BSL engagement</a:t>
            </a:r>
          </a:p>
          <a:p>
            <a:pPr marL="573088" lvl="1" indent="-342900" fontAlgn="ctr"/>
            <a:r>
              <a:rPr lang="en-US" dirty="0"/>
              <a:t>Search, Sort and Filter in new AppStore (Q1’21)</a:t>
            </a:r>
          </a:p>
          <a:p>
            <a:pPr marL="573088" lvl="1" indent="-342900" fontAlgn="ctr"/>
            <a:endParaRPr lang="en-US" dirty="0"/>
          </a:p>
          <a:p>
            <a:pPr marL="573088" lvl="1" indent="-342900" fontAlgn="ctr"/>
            <a:r>
              <a:rPr lang="en-US" dirty="0"/>
              <a:t>47% P, A</a:t>
            </a:r>
          </a:p>
          <a:p>
            <a:pPr marL="573088" lvl="1" indent="-342900" fontAlgn="ctr"/>
            <a:r>
              <a:rPr lang="en-US" dirty="0"/>
              <a:t>1200+ Discouraged titles – old or little-used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9D028F5-B9E5-3841-AF93-68CF4D16E538}"/>
              </a:ext>
            </a:extLst>
          </p:cNvPr>
          <p:cNvGraphicFramePr/>
          <p:nvPr/>
        </p:nvGraphicFramePr>
        <p:xfrm>
          <a:off x="485422" y="1986251"/>
          <a:ext cx="4344996" cy="3753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82233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Capability roadma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to-discovery of software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-Tech-PADU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b site search and maintenance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tomated governance through AppSt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tegorical cost reporting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pportuniti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engaged IT capability ow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mature IT Product strate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agmented application catalo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ak restriction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scure cost and recovery data</a:t>
            </a:r>
          </a:p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use of enterprise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luence to software proc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se avo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store inventory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turing tech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reased visibility into R&amp;D efforts, acquired entity tech 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utcom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ccelerate decision-making by reducing complexity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PADU Outcomes, Challenges, and Opportunities</a:t>
            </a: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24"/>
          </p:nvPr>
        </p:nvSpPr>
        <p:spPr>
          <a:xfrm>
            <a:off x="11265408" y="6448111"/>
            <a:ext cx="539496" cy="23083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371056004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ctive IT Product Management</a:t>
            </a:r>
          </a:p>
          <a:p>
            <a:pPr lvl="3"/>
            <a:r>
              <a:rPr lang="en-US" sz="1400" dirty="0"/>
              <a:t>Annual PADU attestation and roadmap</a:t>
            </a:r>
          </a:p>
          <a:p>
            <a:pPr lvl="3"/>
            <a:r>
              <a:rPr lang="en-US" sz="1400" dirty="0"/>
              <a:t>Targeted annual PA vs DU ratios </a:t>
            </a:r>
          </a:p>
          <a:p>
            <a:pPr lvl="3"/>
            <a:r>
              <a:rPr lang="en-US" sz="1400" dirty="0"/>
              <a:t>cost, </a:t>
            </a:r>
            <a:r>
              <a:rPr lang="en-US" sz="1400" dirty="0" err="1"/>
              <a:t>lic</a:t>
            </a:r>
            <a:r>
              <a:rPr lang="en-US" sz="1400" dirty="0"/>
              <a:t> mgt, recovery, forced app PLM</a:t>
            </a:r>
          </a:p>
          <a:p>
            <a:pPr marL="285750" lvl="1" indent="-285750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r>
              <a:rPr lang="en-US" sz="1600" dirty="0"/>
              <a:t>Formal decommissioning timeframes</a:t>
            </a:r>
          </a:p>
          <a:p>
            <a:pPr lvl="3"/>
            <a:r>
              <a:rPr lang="en-US" sz="1400" dirty="0"/>
              <a:t>12-18mo for U, 18-24mo for D</a:t>
            </a:r>
          </a:p>
          <a:p>
            <a:pPr lvl="1">
              <a:buClr>
                <a:schemeClr val="tx1"/>
              </a:buClr>
            </a:pPr>
            <a:r>
              <a:rPr lang="en-US" sz="1600" dirty="0"/>
              <a:t>IT Product capability model</a:t>
            </a:r>
          </a:p>
          <a:p>
            <a:pPr lvl="1">
              <a:buClr>
                <a:schemeClr val="tx1"/>
              </a:buClr>
            </a:pPr>
            <a:r>
              <a:rPr lang="en-US" sz="1600" dirty="0"/>
              <a:t>Chargeback disincentives</a:t>
            </a:r>
          </a:p>
          <a:p>
            <a:pPr lvl="1">
              <a:buClr>
                <a:schemeClr val="tx1"/>
              </a:buClr>
            </a:pPr>
            <a:r>
              <a:rPr lang="en-US" sz="1600" dirty="0"/>
              <a:t>Strong exception proces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pportuniti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or PADU understa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IT Product roadma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IT Product Capabilit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Products tied tightly to vendor 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replacements for </a:t>
            </a:r>
            <a:r>
              <a:rPr lang="en-US" u="sng" dirty="0"/>
              <a:t>U</a:t>
            </a:r>
            <a:r>
              <a:rPr lang="en-US" dirty="0"/>
              <a:t> te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app team budget for PL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rgeback disincen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Weak exception proces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aseline of IT App 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99% of 495 </a:t>
            </a:r>
            <a:r>
              <a:rPr lang="en-US" u="sng" dirty="0"/>
              <a:t>applications</a:t>
            </a:r>
            <a:r>
              <a:rPr lang="en-US" dirty="0"/>
              <a:t> have PADU</a:t>
            </a:r>
          </a:p>
          <a:p>
            <a:pPr marL="744538" lvl="3" indent="-285750"/>
            <a:r>
              <a:rPr lang="en-US" sz="1600" dirty="0"/>
              <a:t>91% Preferred or Acceptable</a:t>
            </a:r>
            <a:endParaRPr lang="en-US" dirty="0"/>
          </a:p>
          <a:p>
            <a:r>
              <a:rPr lang="en-US" dirty="0"/>
              <a:t>Baselining of IT Product 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4% of 977 IT </a:t>
            </a:r>
            <a:r>
              <a:rPr lang="en-US" u="sng" dirty="0"/>
              <a:t>Infrastructure</a:t>
            </a:r>
            <a:r>
              <a:rPr lang="en-US" dirty="0"/>
              <a:t> products have PADU</a:t>
            </a:r>
          </a:p>
          <a:p>
            <a:pPr marL="686991" lvl="3" indent="-285750"/>
            <a:r>
              <a:rPr lang="en-US" sz="1600" dirty="0"/>
              <a:t>79% of mapped are Preferred or Acceptable</a:t>
            </a:r>
          </a:p>
          <a:p>
            <a:pPr marL="686991" lvl="3" indent="-285750"/>
            <a:r>
              <a:rPr lang="en-US" sz="1600" dirty="0"/>
              <a:t>28% unmapped</a:t>
            </a:r>
          </a:p>
          <a:p>
            <a:pPr marL="228203" indent="-285750">
              <a:buFont typeface="Arial" panose="020B0604020202020204" pitchFamily="34" charset="0"/>
              <a:buChar char="•"/>
            </a:pPr>
            <a:r>
              <a:rPr lang="en-US" dirty="0"/>
              <a:t>35 Unacceptable app/tech remediated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utcom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495300" y="1118282"/>
            <a:ext cx="11315700" cy="492125"/>
          </a:xfrm>
        </p:spPr>
        <p:txBody>
          <a:bodyPr/>
          <a:lstStyle/>
          <a:p>
            <a:r>
              <a:rPr lang="en-US" dirty="0"/>
              <a:t>Drive application rationalization across the enterprise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oadmapping</a:t>
            </a:r>
            <a:r>
              <a:rPr lang="en-US" dirty="0"/>
              <a:t> Outcomes, Challenges, and Opportunities</a:t>
            </a: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24"/>
          </p:nvPr>
        </p:nvSpPr>
        <p:spPr>
          <a:xfrm>
            <a:off x="11265408" y="6448111"/>
            <a:ext cx="539496" cy="23083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C15636-4B3F-3348-901D-16B4FA89096D}"/>
              </a:ext>
            </a:extLst>
          </p:cNvPr>
          <p:cNvSpPr/>
          <p:nvPr/>
        </p:nvSpPr>
        <p:spPr>
          <a:xfrm>
            <a:off x="1092200" y="5933897"/>
            <a:ext cx="10007600" cy="3693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LF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all CBAs (52 of 104) depend upon at least one of 21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chnologies</a:t>
            </a:r>
          </a:p>
        </p:txBody>
      </p:sp>
    </p:spTree>
    <p:extLst>
      <p:ext uri="{BB962C8B-B14F-4D97-AF65-F5344CB8AC3E}">
        <p14:creationId xmlns:p14="http://schemas.microsoft.com/office/powerpoint/2010/main" val="592949255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CE458-F428-9B46-9400-8ABFFC1B2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y Level Spend Repor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D95FEF-DE46-1E47-8F94-74878CB7DA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971925" y="6486983"/>
            <a:ext cx="444341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55565A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 property of Optum. Do not distribute or reproduce without express permission from Optum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E0765BE-B986-7341-B0E2-260916B86E04}"/>
              </a:ext>
            </a:extLst>
          </p:cNvPr>
          <p:cNvGraphicFramePr/>
          <p:nvPr/>
        </p:nvGraphicFramePr>
        <p:xfrm>
          <a:off x="1809750" y="1074060"/>
          <a:ext cx="8572501" cy="500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975793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-level spen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ller spen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ighter taxonomy alig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ceability back to consuming IT or business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ugher exception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st reduction MB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pportuniti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aligned product taxonom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oss-domain vend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gue or broad purchase or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lti-year contra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Uncategorized” spend through In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traceability to IT or Business Application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1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r>
              <a:rPr lang="en-US" sz="1800" dirty="0"/>
              <a:t>Very first expense/capability domain report</a:t>
            </a:r>
          </a:p>
          <a:p>
            <a:pPr lvl="1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r>
              <a:rPr lang="en-US" sz="1800" dirty="0"/>
              <a:t>Product-level expense reporting (validated with pilot groups)</a:t>
            </a:r>
          </a:p>
          <a:p>
            <a:pPr lvl="1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r>
              <a:rPr lang="en-US" sz="1800" dirty="0"/>
              <a:t>Mapping of Procurement categories to Tech Taxonomy</a:t>
            </a:r>
          </a:p>
          <a:p>
            <a:pPr lvl="1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r>
              <a:rPr lang="en-US" sz="1800" dirty="0"/>
              <a:t>Strategic partnership with ES&amp;P, IT Finance</a:t>
            </a:r>
          </a:p>
          <a:p>
            <a:pPr lvl="1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</a:pPr>
            <a:endParaRPr lang="en-US" sz="1800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utcom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800" dirty="0"/>
              <a:t>Driving towards strategic investments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y </a:t>
            </a:r>
            <a:r>
              <a:rPr lang="en-US"/>
              <a:t>Level Spend Reporting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80169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77345-3671-4461-A9E2-C1E5FB92C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PADU</a:t>
            </a: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362581-6CDC-4FD1-B181-395AF0361F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47308" y="591344"/>
            <a:ext cx="6906491" cy="5585619"/>
          </a:xfrm>
        </p:spPr>
        <p:txBody>
          <a:bodyPr anchor="ctr">
            <a:normAutofit/>
          </a:bodyPr>
          <a:lstStyle/>
          <a:p>
            <a:r>
              <a:rPr lang="en-US" dirty="0"/>
              <a:t>P - Preferred </a:t>
            </a:r>
          </a:p>
          <a:p>
            <a:r>
              <a:rPr lang="en-US" dirty="0"/>
              <a:t>A - Acceptable</a:t>
            </a:r>
          </a:p>
          <a:p>
            <a:r>
              <a:rPr lang="en-US" dirty="0"/>
              <a:t>D - Discouraged</a:t>
            </a:r>
          </a:p>
          <a:p>
            <a:r>
              <a:rPr lang="en-US" dirty="0"/>
              <a:t>U - Unacceptable</a:t>
            </a:r>
          </a:p>
        </p:txBody>
      </p:sp>
    </p:spTree>
    <p:extLst>
      <p:ext uri="{BB962C8B-B14F-4D97-AF65-F5344CB8AC3E}">
        <p14:creationId xmlns:p14="http://schemas.microsoft.com/office/powerpoint/2010/main" val="16166083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568C1-C6EB-B047-B340-72B902769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e application rationalization across the enterpri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 Application Insight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19 Optum, Inc. All rights reserved. Confidential property of Optum. Do not distribute or reproduce without express permission from Optum.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Chart 7" title="My Application">
            <a:extLst>
              <a:ext uri="{FF2B5EF4-FFF2-40B4-BE49-F238E27FC236}">
                <a16:creationId xmlns:a16="http://schemas.microsoft.com/office/drawing/2014/main" id="{4E70EC24-84E8-DA40-818E-1EE933B49A84}"/>
              </a:ext>
            </a:extLst>
          </p:cNvPr>
          <p:cNvGraphicFramePr/>
          <p:nvPr/>
        </p:nvGraphicFramePr>
        <p:xfrm>
          <a:off x="6034651" y="1796903"/>
          <a:ext cx="5662049" cy="3854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B821524-9979-394E-9486-58C4FE75FB26}"/>
              </a:ext>
            </a:extLst>
          </p:cNvPr>
          <p:cNvSpPr txBox="1"/>
          <p:nvPr/>
        </p:nvSpPr>
        <p:spPr>
          <a:xfrm>
            <a:off x="495300" y="2138938"/>
            <a:ext cx="5600700" cy="37251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PADU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sessment of Application fulfillment of a specific Business Capability</a:t>
            </a: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 PADU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ggregated value of application software alignment to enterprise technology strategies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/>
              </a:rPr>
              <a:t>1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ineering Standard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system alignment and adoption of architecture and engineering best practices, including HCC, HCP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/>
              </a:rPr>
              <a:t>2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dware PADU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hardware alignment to enterprise technology strategies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/>
              </a:rPr>
              <a:t>3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44" marR="0" lvl="0" indent="-285744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 First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9609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B4B8E-A765-3446-A76E-71A3F59BF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Business Applications with PADU-U Tech Dependenci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20201B5-9A85-AD41-9073-A1011AF42E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747568"/>
            <a:ext cx="5524500" cy="4079875"/>
          </a:xfrm>
        </p:spPr>
        <p:txBody>
          <a:bodyPr/>
          <a:lstStyle/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ESB - ESERVICES BILLING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CI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PW - CLAIMS PROCESSING WORKSTATION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CES CLEARINGHOUS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DATA WAREHOUSE (UHC CS)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EDI-B2B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EMPLOYER ESERVICES PORTAL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MYUHC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ACIS - AUTOMATED CASE IMPLEMENTATION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BEHAVIORAL HEALTH BENEFITS AND ELIGIBILITY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DB - CONSUMER DATABASE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LAIMS HIGHWAY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OSMOS - COMPREHENSIVE ONLINE SOFTWARE FOR MANAGEMENT AND OPERATIONAL SUPPORT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EEMS - ELECTRONIC ELIGIBILITY MANAGEMENT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LINX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LIVE AND WORK WELL (LAWW)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PTUM PAY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PROVIDER EXPRES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SRP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UHC RETIREE PORTAL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UNET TOP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FACETS (OHBS)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BAAG - INTRANET BENEFITS AT A GLANC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ISET - INTEGRATED SERVICE EXPERIENCE TOOL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FACETS (CS CSP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D9FB25D-E11B-B241-AB3D-ADBC34FCAA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747568"/>
            <a:ext cx="5660572" cy="4079875"/>
          </a:xfrm>
        </p:spPr>
        <p:txBody>
          <a:bodyPr/>
          <a:lstStyle/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NICE - NEWLY INTEGRATED COMPUTER ENVIRONMENT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PAYMENT ENGIN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NDIVIDUAL MASTER DATA MANAGEMENT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HYPERION FINANCIAL REPORT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RXCLAIM WEB SERVICES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OMPREHENSIVE POLICY ADMINISTRATION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CAR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CUE - INTEGRATED CLINICAL USER EXPERIENC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LEAN - LANDMARK ELECTRONIC APPLICATION NAVIGATOR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PTUMID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OPTUMRX MEMBER MOBIL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PAS - PRIOR AUTHORIZATION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DOCUMENTUM (UHC ENTERPRISE DOCUMENT MANAGEMENT SYSTEM ECAA)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HEALTH4M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IRIS - INTEGRATED RX INFORMATION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ACCENT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LAIM PAYMENT SYSTEM (UMR)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QFINITI ENTERPRIS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RXWEB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TASK TRACKER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UNITED ESERVICES PORTAL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CES - CONSOLIDATED ELIGIBILITY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ELGS - ENTERPRISE LETTER GENERATION SYSTEM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NDB - NETWORK DATABAS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PRIME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TREASURY CHECK DATA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00" dirty="0"/>
              <a:t>VCC DESKTO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8A9B90-AB4C-9E4C-91E6-DB819E15E3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52 of 104 CBAs dependent upon at least one of 21 </a:t>
            </a:r>
            <a:r>
              <a:rPr lang="en-US" u="sng" dirty="0"/>
              <a:t>U</a:t>
            </a:r>
            <a:r>
              <a:rPr lang="en-US" dirty="0"/>
              <a:t> technolog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861E1-E0C9-E948-B9F3-F0A5FC7638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7F2525-F2BF-A947-B1F1-F72F8AFDEE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881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B4B8E-A765-3446-A76E-71A3F59BF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Business Applications with PADU-U Tech Dependenci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20201B5-9A85-AD41-9073-A1011AF42E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5300" y="1747568"/>
            <a:ext cx="5524500" cy="4079875"/>
          </a:xfrm>
        </p:spPr>
        <p:txBody>
          <a:bodyPr/>
          <a:lstStyle/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IX 5.3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IX 6.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IX 7.1 TL4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IX 7.1 TL5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IX 7.2 TL3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ataStage11.3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B2UDB10.5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B2UDB11.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B2UDB9.7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BM HTTPServer6.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BM HTTPServer8.5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Oracle 10g Release 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RedHat Enterprise Linux 5.1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RedHat Enterprise Linux 5.6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olaris10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olaris11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eblogicServer10.3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indows 2003 R2 SP2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indows 2003 SP2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indows 2008 R2 SP2</a:t>
            </a:r>
          </a:p>
          <a:p>
            <a:pPr marL="171450" indent="-17145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indows 201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8A9B90-AB4C-9E4C-91E6-DB819E15E3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21 Identified </a:t>
            </a:r>
            <a:r>
              <a:rPr lang="en-US" u="sng" dirty="0"/>
              <a:t>U</a:t>
            </a:r>
            <a:r>
              <a:rPr lang="en-US" dirty="0"/>
              <a:t> technolog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861E1-E0C9-E948-B9F3-F0A5FC7638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0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7F2525-F2BF-A947-B1F1-F72F8AFDEE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16549267-3A10-694C-A921-6A1A3E09843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5432302"/>
              </p:ext>
            </p:extLst>
          </p:nvPr>
        </p:nvGraphicFramePr>
        <p:xfrm>
          <a:off x="10348913" y="5224463"/>
          <a:ext cx="3810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Worksheet" showAsIcon="1" r:id="rId4" imgW="380802" imgH="806311" progId="Excel.Sheet.12">
                  <p:embed/>
                </p:oleObj>
              </mc:Choice>
              <mc:Fallback>
                <p:oleObj name="Worksheet" showAsIcon="1" r:id="rId4" imgW="380802" imgH="806311" progId="Excel.Shee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16549267-3A10-694C-A921-6A1A3E098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348913" y="5224463"/>
                        <a:ext cx="3810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4594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2B703B-46F9-481A-A605-82E2A828C4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A502E7-2205-45CD-9BC4-20B5BFD94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9863"/>
            <a:ext cx="10515600" cy="1004594"/>
          </a:xfrm>
        </p:spPr>
        <p:txBody>
          <a:bodyPr>
            <a:normAutofit/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Building Block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13BE4D7-0C3D-4906-B230-A1C5B4665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9496" y="1587970"/>
            <a:ext cx="11033008" cy="4768380"/>
          </a:xfrm>
          <a:prstGeom prst="roundRect">
            <a:avLst>
              <a:gd name="adj" fmla="val 3174"/>
            </a:avLst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4A7858F-68C2-EC6D-D346-FFEF33EAFC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1510191"/>
              </p:ext>
            </p:extLst>
          </p:nvPr>
        </p:nvGraphicFramePr>
        <p:xfrm>
          <a:off x="838200" y="1800911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05425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0EBB9E-1359-435C-893A-E0B49F1B2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1" y="620392"/>
            <a:ext cx="3808268" cy="5504688"/>
          </a:xfrm>
        </p:spPr>
        <p:txBody>
          <a:bodyPr>
            <a:normAutofit/>
          </a:bodyPr>
          <a:lstStyle/>
          <a:p>
            <a:r>
              <a:rPr lang="en-US" sz="5600">
                <a:solidFill>
                  <a:schemeClr val="bg1"/>
                </a:solidFill>
              </a:rPr>
              <a:t>Architecture Building Block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D8A015E-4239-5253-1406-149B1438BF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77375969"/>
              </p:ext>
            </p:extLst>
          </p:nvPr>
        </p:nvGraphicFramePr>
        <p:xfrm>
          <a:off x="5468389" y="620392"/>
          <a:ext cx="6263640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55478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8DB907-C67D-4525-8469-891AB6096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lution Building Block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CD6824C-1AD0-4649-A9CD-56BE06DC47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16526" y="1113922"/>
            <a:ext cx="7341490" cy="5010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391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FEAC9A97-FC02-9948-8C5C-2591295D01DA}"/>
              </a:ext>
            </a:extLst>
          </p:cNvPr>
          <p:cNvSpPr/>
          <p:nvPr/>
        </p:nvSpPr>
        <p:spPr>
          <a:xfrm>
            <a:off x="616136" y="1193078"/>
            <a:ext cx="111684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dentify assets that deliver similar functions or value and standardize on the smallest solution set possib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590A24E-D01E-8A4D-9C7F-AD6F04FDB948}"/>
              </a:ext>
            </a:extLst>
          </p:cNvPr>
          <p:cNvSpPr/>
          <p:nvPr/>
        </p:nvSpPr>
        <p:spPr>
          <a:xfrm>
            <a:off x="4038601" y="4361053"/>
            <a:ext cx="6455219" cy="1684649"/>
          </a:xfrm>
          <a:prstGeom prst="roundRect">
            <a:avLst>
              <a:gd name="adj" fmla="val 4524"/>
            </a:avLst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7B4846F-37E1-6947-9E87-FB307E7C0F14}"/>
              </a:ext>
            </a:extLst>
          </p:cNvPr>
          <p:cNvSpPr/>
          <p:nvPr/>
        </p:nvSpPr>
        <p:spPr>
          <a:xfrm>
            <a:off x="4038601" y="1835623"/>
            <a:ext cx="3127563" cy="2373811"/>
          </a:xfrm>
          <a:prstGeom prst="roundRect">
            <a:avLst>
              <a:gd name="adj" fmla="val 4524"/>
            </a:avLst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5ED51BB-107F-4A42-AE6E-5A5F633D6FCA}"/>
              </a:ext>
            </a:extLst>
          </p:cNvPr>
          <p:cNvSpPr txBox="1">
            <a:spLocks/>
          </p:cNvSpPr>
          <p:nvPr/>
        </p:nvSpPr>
        <p:spPr>
          <a:xfrm>
            <a:off x="852214" y="2074792"/>
            <a:ext cx="2866801" cy="37634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25" indent="-1651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7013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r technical environment is structured by two key frameworks –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Capabiliti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chnology Taxonom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that organize application and technology assets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h of those kinds of assets (applications and technologies) ar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assified by PAD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DU over time is a roadma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at describes our preferred destination platforms and our discouraged legacy.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abilities hav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able ownershi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ewhere in the enterprise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B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verage PADU data for guiding new investments away from Discouraged / Unacceptable Applications and Technologi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03665012-799B-1E42-83E7-2CBDB8383FDF}"/>
              </a:ext>
            </a:extLst>
          </p:cNvPr>
          <p:cNvSpPr/>
          <p:nvPr/>
        </p:nvSpPr>
        <p:spPr>
          <a:xfrm>
            <a:off x="4169899" y="2183671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Business Do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Clinical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885037D7-E5A4-5446-97D5-D4E9D43C2539}"/>
              </a:ext>
            </a:extLst>
          </p:cNvPr>
          <p:cNvSpPr/>
          <p:nvPr/>
        </p:nvSpPr>
        <p:spPr>
          <a:xfrm>
            <a:off x="4663161" y="2865701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Business Cap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Case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Mgm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)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F2BE57B8-4509-1843-94A1-323E9EC032C9}"/>
              </a:ext>
            </a:extLst>
          </p:cNvPr>
          <p:cNvSpPr/>
          <p:nvPr/>
        </p:nvSpPr>
        <p:spPr>
          <a:xfrm>
            <a:off x="4611179" y="4490807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Business Solution (Ap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ICUE, Apollo, ECP)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873AECD-E533-214D-AE47-1FE0856B1D64}"/>
              </a:ext>
            </a:extLst>
          </p:cNvPr>
          <p:cNvSpPr/>
          <p:nvPr/>
        </p:nvSpPr>
        <p:spPr>
          <a:xfrm>
            <a:off x="7963979" y="4490807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Technology Solution (tech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Oracle, MySQL, SQL Server)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95871DF-365D-8A4F-B63E-22BCF1FA333C}"/>
              </a:ext>
            </a:extLst>
          </p:cNvPr>
          <p:cNvSpPr/>
          <p:nvPr/>
        </p:nvSpPr>
        <p:spPr>
          <a:xfrm>
            <a:off x="7963979" y="2865701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Technology Cap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Relational DB)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71BA4329-0885-D149-8144-AAAB3B91D2E1}"/>
              </a:ext>
            </a:extLst>
          </p:cNvPr>
          <p:cNvSpPr/>
          <p:nvPr/>
        </p:nvSpPr>
        <p:spPr>
          <a:xfrm>
            <a:off x="7506779" y="2183671"/>
            <a:ext cx="2377440" cy="457200"/>
          </a:xfrm>
          <a:prstGeom prst="roundRect">
            <a:avLst>
              <a:gd name="adj" fmla="val 157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Technology Dom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(ex. Data Management Tech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90F6B3-A4BE-B545-BB3E-2FB3F0A2E181}"/>
              </a:ext>
            </a:extLst>
          </p:cNvPr>
          <p:cNvSpPr/>
          <p:nvPr/>
        </p:nvSpPr>
        <p:spPr>
          <a:xfrm>
            <a:off x="5696663" y="5053927"/>
            <a:ext cx="33217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App PADU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Calibri" charset="0"/>
              </a:rPr>
              <a:t>i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nforme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Calibri" charset="0"/>
                <a:cs typeface="Calibri" charset="0"/>
              </a:rPr>
              <a:t> by Tech PADU + Tech PLM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2D4236F-1896-3345-866B-4A9B09CCAFE7}"/>
              </a:ext>
            </a:extLst>
          </p:cNvPr>
          <p:cNvSpPr/>
          <p:nvPr/>
        </p:nvSpPr>
        <p:spPr>
          <a:xfrm>
            <a:off x="4038601" y="1913281"/>
            <a:ext cx="279761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Capabiliti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F351783-CC5D-574F-8CF4-BD89BDF4D764}"/>
              </a:ext>
            </a:extLst>
          </p:cNvPr>
          <p:cNvSpPr/>
          <p:nvPr/>
        </p:nvSpPr>
        <p:spPr>
          <a:xfrm>
            <a:off x="8044399" y="1913281"/>
            <a:ext cx="233891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 Taxonomy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A18962E-43D7-0743-8BEB-C80A17B8E4ED}"/>
              </a:ext>
            </a:extLst>
          </p:cNvPr>
          <p:cNvSpPr/>
          <p:nvPr/>
        </p:nvSpPr>
        <p:spPr>
          <a:xfrm rot="16200000">
            <a:off x="3866206" y="5120911"/>
            <a:ext cx="6030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0" name="Straight Arrow Connector 34">
            <a:extLst>
              <a:ext uri="{FF2B5EF4-FFF2-40B4-BE49-F238E27FC236}">
                <a16:creationId xmlns:a16="http://schemas.microsoft.com/office/drawing/2014/main" id="{D90D6EBB-717A-6F4E-AE75-3BE85150824E}"/>
              </a:ext>
            </a:extLst>
          </p:cNvPr>
          <p:cNvCxnSpPr>
            <a:cxnSpLocks/>
            <a:stCxn id="31" idx="2"/>
            <a:endCxn id="30" idx="2"/>
          </p:cNvCxnSpPr>
          <p:nvPr/>
        </p:nvCxnSpPr>
        <p:spPr>
          <a:xfrm rot="5400000">
            <a:off x="7476299" y="3271607"/>
            <a:ext cx="12700" cy="3352800"/>
          </a:xfrm>
          <a:prstGeom prst="bentConnector3">
            <a:avLst>
              <a:gd name="adj1" fmla="val 2723079"/>
            </a:avLst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9FF7A78-1D24-9345-8F12-E03C5962FF54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8695499" y="2640871"/>
            <a:ext cx="0" cy="224831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1A92765-1C21-0E4F-B825-CEF76B20E892}"/>
              </a:ext>
            </a:extLst>
          </p:cNvPr>
          <p:cNvCxnSpPr>
            <a:cxnSpLocks/>
          </p:cNvCxnSpPr>
          <p:nvPr/>
        </p:nvCxnSpPr>
        <p:spPr>
          <a:xfrm>
            <a:off x="9890533" y="3322902"/>
            <a:ext cx="0" cy="1167905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EED7829F-F215-5949-9D2A-4E25A638B55F}"/>
              </a:ext>
            </a:extLst>
          </p:cNvPr>
          <p:cNvCxnSpPr>
            <a:cxnSpLocks/>
            <a:stCxn id="28" idx="2"/>
          </p:cNvCxnSpPr>
          <p:nvPr/>
        </p:nvCxnSpPr>
        <p:spPr>
          <a:xfrm>
            <a:off x="5358619" y="2640869"/>
            <a:ext cx="0" cy="230699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E30AE9E-10E9-F141-A1DC-B78E28984DB0}"/>
              </a:ext>
            </a:extLst>
          </p:cNvPr>
          <p:cNvCxnSpPr>
            <a:cxnSpLocks/>
          </p:cNvCxnSpPr>
          <p:nvPr/>
        </p:nvCxnSpPr>
        <p:spPr>
          <a:xfrm>
            <a:off x="6683819" y="3334627"/>
            <a:ext cx="0" cy="11561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35E1717F-C4C5-AE47-A824-90FD8EBF9FF3}"/>
              </a:ext>
            </a:extLst>
          </p:cNvPr>
          <p:cNvSpPr/>
          <p:nvPr/>
        </p:nvSpPr>
        <p:spPr>
          <a:xfrm>
            <a:off x="4212504" y="6231393"/>
            <a:ext cx="45266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ts are the subjects of PADU classifica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E829FFD-A090-544E-9B0A-9FAF0DA7E040}"/>
              </a:ext>
            </a:extLst>
          </p:cNvPr>
          <p:cNvSpPr/>
          <p:nvPr/>
        </p:nvSpPr>
        <p:spPr>
          <a:xfrm>
            <a:off x="4205066" y="3633568"/>
            <a:ext cx="23422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fines the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uctur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Business Capabilities in partnership across the owners in LOB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97DBB23-3242-6B40-9250-2D0EE16D9194}"/>
              </a:ext>
            </a:extLst>
          </p:cNvPr>
          <p:cNvSpPr/>
          <p:nvPr/>
        </p:nvSpPr>
        <p:spPr>
          <a:xfrm>
            <a:off x="7343045" y="3597856"/>
            <a:ext cx="257981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fines the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uctur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Technology Taxonomy in partnership across the owners in EEEPS, EIS, and ATC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5F14731-CF19-A54F-9600-142661737B51}"/>
              </a:ext>
            </a:extLst>
          </p:cNvPr>
          <p:cNvSpPr/>
          <p:nvPr/>
        </p:nvSpPr>
        <p:spPr>
          <a:xfrm>
            <a:off x="4346380" y="5337813"/>
            <a:ext cx="29610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B CIOs and Chief Architect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ine the solutions for a capability and the PADU of things in it – ideally leaning out the Preferred option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FEDD1E0-F2D5-D142-8993-909FFE90A92B}"/>
              </a:ext>
            </a:extLst>
          </p:cNvPr>
          <p:cNvSpPr/>
          <p:nvPr/>
        </p:nvSpPr>
        <p:spPr>
          <a:xfrm>
            <a:off x="7867648" y="5337813"/>
            <a:ext cx="26081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EP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mature tech)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EI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ecurity) and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TC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emerging tech) define the solutions for a tech capability and the PADU for things in it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B633D145-4763-2B45-B756-C2F2B3D59785}"/>
              </a:ext>
            </a:extLst>
          </p:cNvPr>
          <p:cNvSpPr/>
          <p:nvPr/>
        </p:nvSpPr>
        <p:spPr>
          <a:xfrm>
            <a:off x="7332630" y="1835625"/>
            <a:ext cx="3161191" cy="2373809"/>
          </a:xfrm>
          <a:prstGeom prst="roundRect">
            <a:avLst>
              <a:gd name="adj" fmla="val 4524"/>
            </a:avLst>
          </a:pr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42D928-AB9A-4162-8FA4-E065711B9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67" dirty="0"/>
              <a:t>PADU was created as a decision-making framework to allow us to standardize our applications and underlying technologies</a:t>
            </a:r>
          </a:p>
        </p:txBody>
      </p:sp>
      <p:sp>
        <p:nvSpPr>
          <p:cNvPr id="37" name="Slide Number Placeholder 2">
            <a:extLst>
              <a:ext uri="{FF2B5EF4-FFF2-40B4-BE49-F238E27FC236}">
                <a16:creationId xmlns:a16="http://schemas.microsoft.com/office/drawing/2014/main" id="{50386157-18DE-4CE9-B231-21BFE5455440}"/>
              </a:ext>
            </a:extLst>
          </p:cNvPr>
          <p:cNvSpPr txBox="1">
            <a:spLocks/>
          </p:cNvSpPr>
          <p:nvPr/>
        </p:nvSpPr>
        <p:spPr>
          <a:xfrm>
            <a:off x="11849101" y="6517217"/>
            <a:ext cx="133895" cy="19709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CA7E87-410D-4887-AABD-1ABCEA8A29CF}" type="slidenum"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515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uble Bracket 5"/>
          <p:cNvSpPr/>
          <p:nvPr/>
        </p:nvSpPr>
        <p:spPr>
          <a:xfrm>
            <a:off x="150851" y="1295400"/>
            <a:ext cx="6173808" cy="4114800"/>
          </a:xfrm>
          <a:prstGeom prst="bracket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Double Bracket 6"/>
          <p:cNvSpPr/>
          <p:nvPr/>
        </p:nvSpPr>
        <p:spPr>
          <a:xfrm>
            <a:off x="6477099" y="1295400"/>
            <a:ext cx="3048795" cy="4114800"/>
          </a:xfrm>
          <a:prstGeom prst="bracket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Double Bracket 7"/>
          <p:cNvSpPr/>
          <p:nvPr/>
        </p:nvSpPr>
        <p:spPr>
          <a:xfrm>
            <a:off x="9602114" y="1295400"/>
            <a:ext cx="2515255" cy="4114800"/>
          </a:xfrm>
          <a:prstGeom prst="bracketPair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5485" y="5765800"/>
            <a:ext cx="198171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10401" y="5765800"/>
            <a:ext cx="198171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754553" y="5765800"/>
            <a:ext cx="221037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W or ONE</a:t>
            </a:r>
          </a:p>
        </p:txBody>
      </p:sp>
      <p:sp>
        <p:nvSpPr>
          <p:cNvPr id="12" name="Oval 11"/>
          <p:cNvSpPr/>
          <p:nvPr/>
        </p:nvSpPr>
        <p:spPr>
          <a:xfrm>
            <a:off x="1065490" y="1219200"/>
            <a:ext cx="1286231" cy="13716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2381805" y="1585851"/>
            <a:ext cx="1143299" cy="1143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895651" y="2975762"/>
            <a:ext cx="817840" cy="705591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602054" y="2640282"/>
            <a:ext cx="1252287" cy="123008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86069" y="3897085"/>
            <a:ext cx="1295737" cy="1208315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284070" y="3722915"/>
            <a:ext cx="1219519" cy="12954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523749" y="2362200"/>
            <a:ext cx="1370081" cy="12954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45311" y="3681351"/>
            <a:ext cx="925059" cy="88174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79511" y="2438400"/>
            <a:ext cx="925059" cy="816925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42041" y="4749638"/>
            <a:ext cx="784809" cy="705591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53935" y="2971800"/>
            <a:ext cx="1219519" cy="12954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7347298" y="2181597"/>
            <a:ext cx="1286231" cy="13716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620332" y="2971800"/>
            <a:ext cx="1370081" cy="12954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2056348" y="4793917"/>
            <a:ext cx="685979" cy="616283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2285007" y="1219200"/>
            <a:ext cx="647739" cy="609352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3504525" y="2362200"/>
            <a:ext cx="731328" cy="66254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227071" y="1524000"/>
            <a:ext cx="1143299" cy="10668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/>
          <p:cNvSpPr/>
          <p:nvPr/>
        </p:nvSpPr>
        <p:spPr>
          <a:xfrm>
            <a:off x="7467958" y="4267200"/>
            <a:ext cx="793069" cy="66650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.</a:t>
            </a:r>
          </a:p>
        </p:txBody>
      </p:sp>
      <p:sp>
        <p:nvSpPr>
          <p:cNvPr id="30" name="Oval 29"/>
          <p:cNvSpPr/>
          <p:nvPr/>
        </p:nvSpPr>
        <p:spPr>
          <a:xfrm>
            <a:off x="8611257" y="2030434"/>
            <a:ext cx="583815" cy="56036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10897850" y="2743200"/>
            <a:ext cx="1219519" cy="12954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800265" y="1524001"/>
            <a:ext cx="1252287" cy="123008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656966" y="1447801"/>
            <a:ext cx="1252287" cy="123008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4342946" y="4343401"/>
            <a:ext cx="1252287" cy="123008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3047207" y="1219200"/>
            <a:ext cx="794968" cy="762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5105143" y="2819401"/>
            <a:ext cx="794968" cy="77288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3809405" y="3124200"/>
            <a:ext cx="914639" cy="8382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4266723" y="2438400"/>
            <a:ext cx="989271" cy="9906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4724044" y="3505200"/>
            <a:ext cx="1295737" cy="12192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3275866" y="3810000"/>
            <a:ext cx="1295737" cy="12192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1903909" y="3505200"/>
            <a:ext cx="685979" cy="616283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3047205" y="4800600"/>
            <a:ext cx="685979" cy="616283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44" name="Oval 43"/>
          <p:cNvSpPr/>
          <p:nvPr/>
        </p:nvSpPr>
        <p:spPr>
          <a:xfrm>
            <a:off x="9983213" y="3657600"/>
            <a:ext cx="1219519" cy="12954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9754553" y="2209800"/>
            <a:ext cx="1219519" cy="12954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609601" y="76200"/>
            <a:ext cx="10972801" cy="914400"/>
          </a:xfrm>
        </p:spPr>
        <p:txBody>
          <a:bodyPr/>
          <a:lstStyle/>
          <a:p>
            <a:r>
              <a:rPr lang="en-US" sz="4300" dirty="0"/>
              <a:t>How do we optimize and modernize? </a:t>
            </a:r>
          </a:p>
        </p:txBody>
      </p:sp>
      <p:sp>
        <p:nvSpPr>
          <p:cNvPr id="45" name="Slide Number Placeholder 2">
            <a:extLst>
              <a:ext uri="{FF2B5EF4-FFF2-40B4-BE49-F238E27FC236}">
                <a16:creationId xmlns:a16="http://schemas.microsoft.com/office/drawing/2014/main" id="{981ABEE4-2D1E-48CC-815D-B4831E9D3FA0}"/>
              </a:ext>
            </a:extLst>
          </p:cNvPr>
          <p:cNvSpPr txBox="1">
            <a:spLocks/>
          </p:cNvSpPr>
          <p:nvPr/>
        </p:nvSpPr>
        <p:spPr>
          <a:xfrm>
            <a:off x="11849101" y="6517217"/>
            <a:ext cx="133895" cy="19709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CA7E87-410D-4887-AABD-1ABCEA8A29CF}" type="slidenum"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978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77800"/>
            <a:ext cx="11183373" cy="893763"/>
          </a:xfrm>
        </p:spPr>
        <p:txBody>
          <a:bodyPr/>
          <a:lstStyle/>
          <a:p>
            <a:r>
              <a:rPr lang="en-US" sz="3200" dirty="0"/>
              <a:t>The PADU framework reflects a “full stack” approach to standardizing and modernizing our technology environment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10755" y="2487948"/>
            <a:ext cx="3478304" cy="898357"/>
          </a:xfrm>
          <a:prstGeom prst="rect">
            <a:avLst/>
          </a:prstGeom>
          <a:solidFill>
            <a:schemeClr val="accent1"/>
          </a:solidFill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lication PADU</a:t>
            </a:r>
          </a:p>
        </p:txBody>
      </p:sp>
      <p:sp>
        <p:nvSpPr>
          <p:cNvPr id="6" name="Rectangle 5"/>
          <p:cNvSpPr/>
          <p:nvPr/>
        </p:nvSpPr>
        <p:spPr>
          <a:xfrm>
            <a:off x="6690659" y="2487947"/>
            <a:ext cx="1522620" cy="898357"/>
          </a:xfrm>
          <a:prstGeom prst="rect">
            <a:avLst/>
          </a:prstGeom>
          <a:solidFill>
            <a:schemeClr val="accent1"/>
          </a:solidFill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DU</a:t>
            </a:r>
          </a:p>
        </p:txBody>
      </p:sp>
      <p:sp>
        <p:nvSpPr>
          <p:cNvPr id="7" name="Rectangle 6"/>
          <p:cNvSpPr/>
          <p:nvPr/>
        </p:nvSpPr>
        <p:spPr>
          <a:xfrm>
            <a:off x="3110754" y="3498602"/>
            <a:ext cx="5102524" cy="8983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 PADU</a:t>
            </a:r>
          </a:p>
        </p:txBody>
      </p:sp>
      <p:sp>
        <p:nvSpPr>
          <p:cNvPr id="8" name="Rectangle 7"/>
          <p:cNvSpPr/>
          <p:nvPr/>
        </p:nvSpPr>
        <p:spPr>
          <a:xfrm>
            <a:off x="3110754" y="4509255"/>
            <a:ext cx="5102524" cy="8983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dware PADU (appliances + peripherals)</a:t>
            </a:r>
          </a:p>
        </p:txBody>
      </p:sp>
      <p:sp>
        <p:nvSpPr>
          <p:cNvPr id="10" name="TextBox 9"/>
          <p:cNvSpPr txBox="1"/>
          <p:nvPr/>
        </p:nvSpPr>
        <p:spPr>
          <a:xfrm rot="5400000">
            <a:off x="8110217" y="3793890"/>
            <a:ext cx="13479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tern PADU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20379" y="2452753"/>
            <a:ext cx="17032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of 6K+ application assets, with added criteria for commercial softw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20379" y="3512641"/>
            <a:ext cx="17032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of 2K distinct technology solutions across 20 domain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20379" y="4607479"/>
            <a:ext cx="17032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of  35 distinct hardware solutio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1353652"/>
            <a:ext cx="109728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effectively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lerate our modernization journey</a:t>
            </a:r>
            <a:r>
              <a:rPr kumimoji="0" lang="en-US" sz="1867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we will continue to evolve our PADU framework to be a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istic “whole stack” approach</a:t>
            </a:r>
            <a:r>
              <a:rPr kumimoji="0" lang="en-US" sz="1867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at </a:t>
            </a:r>
            <a:r>
              <a:rPr kumimoji="0" lang="en-US" sz="1867" b="1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s strategic decisions</a:t>
            </a:r>
            <a:r>
              <a:rPr kumimoji="0" lang="en-US" sz="1867" b="0" i="1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cross our portfolio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864716" y="5665245"/>
            <a:ext cx="8005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need to continue to remind our teams that PADU is a means to an end, not the end itsel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738B94-9E7C-4206-B5F4-B4076DA6A4DC}"/>
              </a:ext>
            </a:extLst>
          </p:cNvPr>
          <p:cNvSpPr txBox="1"/>
          <p:nvPr/>
        </p:nvSpPr>
        <p:spPr>
          <a:xfrm>
            <a:off x="8326481" y="3418849"/>
            <a:ext cx="2393856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xamples of Tech PADU include: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Desktop Software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pplication Libraries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tegration Software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loud Services (Saa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703E56D-9F21-48A1-85DF-98362B964AA6}"/>
              </a:ext>
            </a:extLst>
          </p:cNvPr>
          <p:cNvSpPr txBox="1"/>
          <p:nvPr/>
        </p:nvSpPr>
        <p:spPr>
          <a:xfrm>
            <a:off x="8326482" y="2452753"/>
            <a:ext cx="17032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rcial software has distinct PADU criteria (see appendix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5BF6415-F2AC-4DCF-93CC-EBF7C3531A3D}"/>
              </a:ext>
            </a:extLst>
          </p:cNvPr>
          <p:cNvSpPr txBox="1">
            <a:spLocks/>
          </p:cNvSpPr>
          <p:nvPr/>
        </p:nvSpPr>
        <p:spPr>
          <a:xfrm>
            <a:off x="11849101" y="6517217"/>
            <a:ext cx="133895" cy="19709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CA7E87-410D-4887-AABD-1ABCEA8A29CF}" type="slidenum"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103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7E52E774-4766-4E8F-8A2E-52D39BCB9375}"/>
              </a:ext>
            </a:extLst>
          </p:cNvPr>
          <p:cNvSpPr/>
          <p:nvPr/>
        </p:nvSpPr>
        <p:spPr>
          <a:xfrm>
            <a:off x="65415" y="6261368"/>
            <a:ext cx="11684000" cy="5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35BBF95-1757-40EC-98DA-8B9E258521B4}"/>
              </a:ext>
            </a:extLst>
          </p:cNvPr>
          <p:cNvSpPr/>
          <p:nvPr/>
        </p:nvSpPr>
        <p:spPr>
          <a:xfrm>
            <a:off x="329623" y="5987583"/>
            <a:ext cx="11684000" cy="775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A259F5-E96D-4146-B0FF-5CEE9E216BA7}"/>
              </a:ext>
            </a:extLst>
          </p:cNvPr>
          <p:cNvSpPr/>
          <p:nvPr/>
        </p:nvSpPr>
        <p:spPr>
          <a:xfrm>
            <a:off x="390093" y="663448"/>
            <a:ext cx="11684000" cy="5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77D896-F778-4C4B-8F94-920FFF865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99" y="52706"/>
            <a:ext cx="6052500" cy="328295"/>
          </a:xfr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333" dirty="0">
                <a:latin typeface="+mn-lt"/>
                <a:ea typeface="+mn-ea"/>
                <a:cs typeface="+mn-cs"/>
              </a:rPr>
              <a:t>Optum Portfolio – Application Portfolio Management &amp; Decommission Pipe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23C47D-8B37-4887-A2F7-8A3D44B422A9}"/>
              </a:ext>
            </a:extLst>
          </p:cNvPr>
          <p:cNvSpPr txBox="1"/>
          <p:nvPr/>
        </p:nvSpPr>
        <p:spPr>
          <a:xfrm>
            <a:off x="8213744" y="109099"/>
            <a:ext cx="3933953" cy="25654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us as of: 12/03/20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F71CFAD-FCC7-4C2B-B3BE-F8B61ECB7240}"/>
              </a:ext>
            </a:extLst>
          </p:cNvPr>
          <p:cNvSpPr txBox="1"/>
          <p:nvPr/>
        </p:nvSpPr>
        <p:spPr>
          <a:xfrm>
            <a:off x="50024" y="482601"/>
            <a:ext cx="4717680" cy="247540"/>
          </a:xfrm>
          <a:prstGeom prst="rect">
            <a:avLst/>
          </a:prstGeom>
          <a:solidFill>
            <a:schemeClr val="tx1"/>
          </a:solidFill>
        </p:spPr>
        <p:txBody>
          <a:bodyPr wrap="square" lIns="121920" rIns="0" rtlCol="0" anchor="ctr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um Roadmaps</a:t>
            </a: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DB6312DA-3D82-48F2-ACEE-D54DDACC3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8250" y="6515912"/>
            <a:ext cx="515373" cy="24722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F5FCC-583C-47C6-9953-2F6AD74D46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C2D1AB3-EEAF-4E4B-B237-752C4AE059D8}"/>
              </a:ext>
            </a:extLst>
          </p:cNvPr>
          <p:cNvSpPr txBox="1"/>
          <p:nvPr/>
        </p:nvSpPr>
        <p:spPr>
          <a:xfrm>
            <a:off x="4873155" y="482600"/>
            <a:ext cx="7200939" cy="247539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um Decommission Pipeli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DAE64F-5063-4087-9121-1D940A162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6" y="1755709"/>
            <a:ext cx="4577273" cy="13109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F6CBE9-25FE-4DDE-88AF-48B24EED3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0" y="1045395"/>
            <a:ext cx="2015409" cy="638044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B9067B8F-B54F-4A6C-A1E4-F1182EA7A021}"/>
              </a:ext>
            </a:extLst>
          </p:cNvPr>
          <p:cNvSpPr/>
          <p:nvPr/>
        </p:nvSpPr>
        <p:spPr>
          <a:xfrm>
            <a:off x="2203835" y="978927"/>
            <a:ext cx="2727727" cy="499504"/>
          </a:xfrm>
          <a:prstGeom prst="rect">
            <a:avLst/>
          </a:prstGeom>
          <a:noFill/>
          <a:ln>
            <a:noFill/>
          </a:ln>
        </p:spPr>
        <p:txBody>
          <a:bodyPr wrap="square" tIns="121920" rtlCol="0">
            <a:noAutofit/>
          </a:bodyPr>
          <a:lstStyle/>
          <a:p>
            <a:pPr marL="156629" marR="0" lvl="0" indent="-156629" algn="l" defTabSz="91440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out 40%+ of the portfolio have </a:t>
            </a:r>
            <a:b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-to-5-year roadmaps defined</a:t>
            </a:r>
          </a:p>
          <a:p>
            <a:pPr marL="156629" marR="0" lvl="0" indent="-156629" algn="l" defTabSz="91440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gnificant progress since July roll ou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9B4CB8-79C3-473E-9587-EB68DEA2F7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055" y="3209310"/>
            <a:ext cx="4445788" cy="16007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BE164C7-3C57-4D12-A17A-B518C377DD6C}"/>
              </a:ext>
            </a:extLst>
          </p:cNvPr>
          <p:cNvSpPr txBox="1"/>
          <p:nvPr/>
        </p:nvSpPr>
        <p:spPr>
          <a:xfrm>
            <a:off x="0" y="3162260"/>
            <a:ext cx="42672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68B63A-8B42-4002-8D3F-33B7657C2D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4" y="4011827"/>
            <a:ext cx="4577273" cy="112163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F511F9B-D6B1-486B-B296-974242439A72}"/>
              </a:ext>
            </a:extLst>
          </p:cNvPr>
          <p:cNvSpPr txBox="1"/>
          <p:nvPr/>
        </p:nvSpPr>
        <p:spPr>
          <a:xfrm>
            <a:off x="-16371" y="786557"/>
            <a:ext cx="1276311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1" u="sng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ined Roadmap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5E95D33-5912-49B1-BE6E-2A3CD9DED2B2}"/>
              </a:ext>
            </a:extLst>
          </p:cNvPr>
          <p:cNvSpPr txBox="1"/>
          <p:nvPr/>
        </p:nvSpPr>
        <p:spPr>
          <a:xfrm>
            <a:off x="16903" y="3741844"/>
            <a:ext cx="2007281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1" u="sng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rtfolio Rationalization Trend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145BB2-D73A-4BC1-A909-4AC1E5C045BC}"/>
              </a:ext>
            </a:extLst>
          </p:cNvPr>
          <p:cNvSpPr/>
          <p:nvPr/>
        </p:nvSpPr>
        <p:spPr>
          <a:xfrm>
            <a:off x="-16371" y="5175638"/>
            <a:ext cx="4181972" cy="677044"/>
          </a:xfrm>
          <a:prstGeom prst="rect">
            <a:avLst/>
          </a:prstGeom>
          <a:noFill/>
          <a:ln>
            <a:noFill/>
          </a:ln>
        </p:spPr>
        <p:txBody>
          <a:bodyPr wrap="square" tIns="121920" rtlCol="0">
            <a:noAutofit/>
          </a:bodyPr>
          <a:lstStyle/>
          <a:p>
            <a:pPr marL="156629" marR="0" lvl="0" indent="-156629" algn="l" defTabSz="91440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state A/P to D/U/R ratios are ~75% / 20%</a:t>
            </a:r>
          </a:p>
          <a:p>
            <a:pPr marL="156629" marR="0" lvl="0" indent="-156629" algn="l" defTabSz="91440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re is to flip the ratio on current portfolio assets in 3-5 year period</a:t>
            </a:r>
          </a:p>
          <a:p>
            <a:pPr marL="156629" marR="0" lvl="0" indent="-156629" algn="l" defTabSz="91440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o much of the portfolio is unassessed in future years to validate rationalization goal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27C229-9A0D-48E8-9E7D-DDCAFCC6C59F}"/>
              </a:ext>
            </a:extLst>
          </p:cNvPr>
          <p:cNvSpPr/>
          <p:nvPr/>
        </p:nvSpPr>
        <p:spPr>
          <a:xfrm>
            <a:off x="721626" y="4305830"/>
            <a:ext cx="395975" cy="188801"/>
          </a:xfrm>
          <a:prstGeom prst="rect">
            <a:avLst/>
          </a:prstGeom>
          <a:solidFill>
            <a:srgbClr val="0070C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84E24CF-922D-459B-8E1D-C05842FC0378}"/>
              </a:ext>
            </a:extLst>
          </p:cNvPr>
          <p:cNvSpPr/>
          <p:nvPr/>
        </p:nvSpPr>
        <p:spPr>
          <a:xfrm>
            <a:off x="2408864" y="4296230"/>
            <a:ext cx="1045536" cy="188801"/>
          </a:xfrm>
          <a:prstGeom prst="rect">
            <a:avLst/>
          </a:prstGeom>
          <a:solidFill>
            <a:srgbClr val="0070C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BE4B2C9-1B08-45FC-9283-6A5D212ECC4F}"/>
              </a:ext>
            </a:extLst>
          </p:cNvPr>
          <p:cNvSpPr/>
          <p:nvPr/>
        </p:nvSpPr>
        <p:spPr>
          <a:xfrm>
            <a:off x="721626" y="4509433"/>
            <a:ext cx="395975" cy="281012"/>
          </a:xfrm>
          <a:prstGeom prst="rect">
            <a:avLst/>
          </a:prstGeom>
          <a:solidFill>
            <a:srgbClr val="00206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8068956-F09D-41AB-B8BC-925BE19BC141}"/>
              </a:ext>
            </a:extLst>
          </p:cNvPr>
          <p:cNvSpPr/>
          <p:nvPr/>
        </p:nvSpPr>
        <p:spPr>
          <a:xfrm>
            <a:off x="2403059" y="4512831"/>
            <a:ext cx="1045536" cy="281012"/>
          </a:xfrm>
          <a:prstGeom prst="rect">
            <a:avLst/>
          </a:prstGeom>
          <a:solidFill>
            <a:srgbClr val="00206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1A0474C-021C-4180-A744-F58BD5C841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1461" y="975311"/>
            <a:ext cx="4646084" cy="291010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52C1ECB-889C-4C5C-931A-ABEA69681D1B}"/>
              </a:ext>
            </a:extLst>
          </p:cNvPr>
          <p:cNvSpPr/>
          <p:nvPr/>
        </p:nvSpPr>
        <p:spPr>
          <a:xfrm>
            <a:off x="4931562" y="2283308"/>
            <a:ext cx="7260439" cy="4467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0582F5C-738A-43C0-9EC1-C42D6A8CA5BD}"/>
              </a:ext>
            </a:extLst>
          </p:cNvPr>
          <p:cNvSpPr txBox="1"/>
          <p:nvPr/>
        </p:nvSpPr>
        <p:spPr>
          <a:xfrm>
            <a:off x="4873155" y="3033609"/>
            <a:ext cx="7200939" cy="247539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um Targets – For Discuss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871F1A-EF0E-4858-9C91-9BBF94A19B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11153" y="3593198"/>
            <a:ext cx="7200939" cy="2629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790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822d4cc4-1d5e-4231-9595-f67af2bf41b7"/>
  <p:tag name="MIO_UPDATE" val="True"/>
  <p:tag name="MIO_VERSION" val="13.11.2017 12:23:30"/>
  <p:tag name="MIO_DBID" val="105C9A49-0F00-47E0-A9B9-86E2A99454C8"/>
  <p:tag name="MIO_LASTDOWNLOADED" val="02.05.2018 13:30:33"/>
  <p:tag name="MIO_OBJECTNAME" val="Optum#LowerLeftSmallWide"/>
  <p:tag name="MIO_LASTEDITORNAME" val="Charlotte Bartholomew"/>
  <p:tag name="MIO_LOGOPLACEHOLDER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_PowerPoint_Widescreen_Template-2020-August" id="{4BFF2BDA-2556-3C4A-AA1E-6ACBF9D37F06}" vid="{69549581-3F42-3E49-AA23-9591E3D3578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9CFF4431E5734B84D9A2FF0AE399D1" ma:contentTypeVersion="10" ma:contentTypeDescription="Create a new document." ma:contentTypeScope="" ma:versionID="3f421b22e76883784642b6fad7cbf9bb">
  <xsd:schema xmlns:xsd="http://www.w3.org/2001/XMLSchema" xmlns:xs="http://www.w3.org/2001/XMLSchema" xmlns:p="http://schemas.microsoft.com/office/2006/metadata/properties" xmlns:ns2="0d9795a3-adf0-4b05-925b-a4c9a514a2d6" xmlns:ns3="bf0bf127-b530-4880-ab70-68683edfad51" targetNamespace="http://schemas.microsoft.com/office/2006/metadata/properties" ma:root="true" ma:fieldsID="dfd3cdfdc6c78aeff5c8527390475215" ns2:_="" ns3:_="">
    <xsd:import namespace="0d9795a3-adf0-4b05-925b-a4c9a514a2d6"/>
    <xsd:import namespace="bf0bf127-b530-4880-ab70-68683edfad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9795a3-adf0-4b05-925b-a4c9a514a2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0bf127-b530-4880-ab70-68683edfad5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6F8335-260C-4807-8088-19D9F7475D06}"/>
</file>

<file path=customXml/itemProps2.xml><?xml version="1.0" encoding="utf-8"?>
<ds:datastoreItem xmlns:ds="http://schemas.openxmlformats.org/officeDocument/2006/customXml" ds:itemID="{13F11C2C-E4F6-4EF8-8659-83C35F20FEC0}"/>
</file>

<file path=customXml/itemProps3.xml><?xml version="1.0" encoding="utf-8"?>
<ds:datastoreItem xmlns:ds="http://schemas.openxmlformats.org/officeDocument/2006/customXml" ds:itemID="{20C0AC55-2359-41AB-B334-D5D90616CBAE}"/>
</file>

<file path=docProps/app.xml><?xml version="1.0" encoding="utf-8"?>
<Properties xmlns="http://schemas.openxmlformats.org/officeDocument/2006/extended-properties" xmlns:vt="http://schemas.openxmlformats.org/officeDocument/2006/docPropsVTypes">
  <TotalTime>338</TotalTime>
  <Words>2195</Words>
  <Application>Microsoft Office PowerPoint</Application>
  <PresentationFormat>Widescreen</PresentationFormat>
  <Paragraphs>379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Office Theme</vt:lpstr>
      <vt:lpstr>Default Theme</vt:lpstr>
      <vt:lpstr>Microsoft Excel Worksheet</vt:lpstr>
      <vt:lpstr>PADU Concepts Business &amp; Technology</vt:lpstr>
      <vt:lpstr>What is PADU</vt:lpstr>
      <vt:lpstr>Building Blocks</vt:lpstr>
      <vt:lpstr>Architecture Building Blocks</vt:lpstr>
      <vt:lpstr>Solution Building Blocks</vt:lpstr>
      <vt:lpstr>PADU was created as a decision-making framework to allow us to standardize our applications and underlying technologies</vt:lpstr>
      <vt:lpstr>How do we optimize and modernize? </vt:lpstr>
      <vt:lpstr>The PADU framework reflects a “full stack” approach to standardizing and modernizing our technology environments</vt:lpstr>
      <vt:lpstr>Optum Portfolio – Application Portfolio Management &amp; Decommission Pipeline</vt:lpstr>
      <vt:lpstr>While we have mapped a majority of our application to PADU, we simply have too many classified as “Preferred/Acceptable”</vt:lpstr>
      <vt:lpstr>Our approach is also intended to be more aggressive pre and post close when it come to integrating and rationalizing acquired entities</vt:lpstr>
      <vt:lpstr>We continue to evolve our Technology PADU approach to support our enterprise strategies</vt:lpstr>
      <vt:lpstr>Technology Capability / Landscape Overview</vt:lpstr>
      <vt:lpstr>Technology &amp; Enterprise Strategy Alignment via PADU</vt:lpstr>
      <vt:lpstr>Technology &amp; Enterprise Strategy Alignment via PADU</vt:lpstr>
      <vt:lpstr>Technology PADU Outcomes, Challenges, and Opportunities</vt:lpstr>
      <vt:lpstr>Roadmapping Outcomes, Challenges, and Opportunities</vt:lpstr>
      <vt:lpstr>Capability Level Spend Reporting</vt:lpstr>
      <vt:lpstr>Capability Level Spend Reporting</vt:lpstr>
      <vt:lpstr>Enterprise Application Insights</vt:lpstr>
      <vt:lpstr>Critical Business Applications with PADU-U Tech Dependencies</vt:lpstr>
      <vt:lpstr>Critical Business Applications with PADU-U Tech Dependenc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DU Concepts(Business and Technology)- Tech360</dc:title>
  <dc:creator>Anand, Vikas</dc:creator>
  <cp:lastModifiedBy>Anand, Vikas</cp:lastModifiedBy>
  <cp:revision>10</cp:revision>
  <dcterms:created xsi:type="dcterms:W3CDTF">2022-05-09T05:09:12Z</dcterms:created>
  <dcterms:modified xsi:type="dcterms:W3CDTF">2022-05-09T10:4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9CFF4431E5734B84D9A2FF0AE399D1</vt:lpwstr>
  </property>
</Properties>
</file>